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256" r:id="rId2"/>
    <p:sldId id="257" r:id="rId3"/>
    <p:sldId id="261" r:id="rId4"/>
    <p:sldId id="262" r:id="rId5"/>
    <p:sldId id="260" r:id="rId6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427D"/>
    <a:srgbClr val="3C5A86"/>
    <a:srgbClr val="BFBFBF"/>
    <a:srgbClr val="D1D9E1"/>
    <a:srgbClr val="BECAD5"/>
    <a:srgbClr val="FFFFFF"/>
    <a:srgbClr val="8198AD"/>
    <a:srgbClr val="00264C"/>
    <a:srgbClr val="606060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06" autoAdjust="0"/>
    <p:restoredTop sz="94660"/>
  </p:normalViewPr>
  <p:slideViewPr>
    <p:cSldViewPr snapToGrid="0">
      <p:cViewPr varScale="1">
        <p:scale>
          <a:sx n="118" d="100"/>
          <a:sy n="118" d="100"/>
        </p:scale>
        <p:origin x="272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3040"/>
    </p:cViewPr>
  </p:sorterViewPr>
  <p:notesViewPr>
    <p:cSldViewPr snapToGrid="0">
      <p:cViewPr varScale="1">
        <p:scale>
          <a:sx n="107" d="100"/>
          <a:sy n="107" d="100"/>
        </p:scale>
        <p:origin x="3066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53FC95-54C6-449E-B09A-FD9DA0A2C35F}" type="datetimeFigureOut">
              <a:rPr lang="en-US" smtClean="0"/>
              <a:t>12/8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526389-BAAE-4C0F-AF57-8AE26E4CAF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05998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MY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8611FE-5A48-450B-8E1E-89A5F1A40558}" type="datetimeFigureOut">
              <a:rPr lang="en-MY" smtClean="0"/>
              <a:t>8/12/2022</a:t>
            </a:fld>
            <a:endParaRPr lang="en-MY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MY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9537AE-922F-4AB4-9721-9217C9FD3029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709920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AV&amp;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594"/>
            <a:ext cx="6157494" cy="6858594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468914" y="5295110"/>
            <a:ext cx="5434161" cy="360000"/>
          </a:xfrm>
          <a:noFill/>
        </p:spPr>
        <p:txBody>
          <a:bodyPr anchor="ctr">
            <a:normAutofit/>
          </a:bodyPr>
          <a:lstStyle>
            <a:lvl1pPr marL="180000" indent="0" algn="l">
              <a:buNone/>
              <a:defRPr sz="18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&lt; DATE &gt; ARIAL 18, BOLD</a:t>
            </a:r>
            <a:endParaRPr lang="en-MY" dirty="0"/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468914" y="3721100"/>
            <a:ext cx="5434161" cy="1539641"/>
          </a:xfrm>
          <a:noFill/>
        </p:spPr>
        <p:txBody>
          <a:bodyPr wrap="square" lIns="90000" anchor="ctr" anchorCtr="0">
            <a:noAutofit/>
          </a:bodyPr>
          <a:lstStyle>
            <a:lvl1pPr marL="180000" algn="l">
              <a:defRPr sz="2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sz="3200" dirty="0" smtClean="0"/>
              <a:t>BLA</a:t>
            </a:r>
            <a:endParaRPr lang="en-MY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68916" y="5660521"/>
            <a:ext cx="5434159" cy="360000"/>
          </a:xfrm>
        </p:spPr>
        <p:txBody>
          <a:bodyPr anchor="ctr">
            <a:normAutofit/>
          </a:bodyPr>
          <a:lstStyle>
            <a:lvl1pPr marL="18000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 smtClean="0"/>
              <a:t>&lt; LOCATION &gt; ARIAL 18, BOLD</a:t>
            </a:r>
            <a:endParaRPr lang="en-MY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6461760"/>
            <a:ext cx="12192000" cy="396240"/>
          </a:xfrm>
          <a:prstGeom prst="rect">
            <a:avLst/>
          </a:prstGeom>
          <a:solidFill>
            <a:srgbClr val="3C5A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solidFill>
                  <a:schemeClr val="bg1"/>
                </a:solidFill>
                <a:latin typeface="Bahnschrift" panose="020B0502040204020203" pitchFamily="34" charset="0"/>
              </a:rPr>
              <a:t>We are the </a:t>
            </a:r>
            <a:r>
              <a:rPr lang="en-US" sz="1000" b="1" dirty="0" smtClean="0">
                <a:solidFill>
                  <a:schemeClr val="bg1"/>
                </a:solidFill>
                <a:latin typeface="Bahnschrift" panose="020B0502040204020203" pitchFamily="34" charset="0"/>
              </a:rPr>
              <a:t>FIRST CHOICE </a:t>
            </a:r>
            <a:r>
              <a:rPr lang="en-US" sz="1000" dirty="0" smtClean="0">
                <a:solidFill>
                  <a:schemeClr val="bg1"/>
                </a:solidFill>
                <a:latin typeface="Bahnschrift" panose="020B0502040204020203" pitchFamily="34" charset="0"/>
              </a:rPr>
              <a:t>for </a:t>
            </a:r>
            <a:r>
              <a:rPr lang="en-US" sz="1000" b="1" dirty="0" smtClean="0">
                <a:solidFill>
                  <a:schemeClr val="bg1"/>
                </a:solidFill>
                <a:latin typeface="Bahnschrift" panose="020B0502040204020203" pitchFamily="34" charset="0"/>
              </a:rPr>
              <a:t>COMPREHENSIVE AIRFOIL REPAIR SOLUTIONS</a:t>
            </a:r>
            <a:endParaRPr lang="en-MY" sz="1000" b="1" dirty="0" smtClean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6575" y="30253"/>
            <a:ext cx="2134132" cy="1364863"/>
          </a:xfrm>
          <a:prstGeom prst="rect">
            <a:avLst/>
          </a:prstGeom>
        </p:spPr>
      </p:pic>
      <p:sp>
        <p:nvSpPr>
          <p:cNvPr id="13" name="Title 3"/>
          <p:cNvSpPr txBox="1">
            <a:spLocks/>
          </p:cNvSpPr>
          <p:nvPr userDrawn="1"/>
        </p:nvSpPr>
        <p:spPr>
          <a:xfrm>
            <a:off x="0" y="6461759"/>
            <a:ext cx="12192000" cy="4016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en-MY" sz="105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430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for your atten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374775" y="5647035"/>
            <a:ext cx="9391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MY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THANK YOU FOR YOUR ATTENTION</a:t>
            </a:r>
            <a:endParaRPr lang="en-MY" sz="28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3057" cy="5541744"/>
          </a:xfrm>
          <a:prstGeom prst="rect">
            <a:avLst/>
          </a:prstGeom>
        </p:spPr>
      </p:pic>
      <p:sp>
        <p:nvSpPr>
          <p:cNvPr id="16" name="Footer Placeholder 1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3821353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9"/>
          <p:cNvSpPr>
            <a:spLocks noGrp="1"/>
          </p:cNvSpPr>
          <p:nvPr>
            <p:ph type="title" hasCustomPrompt="1"/>
          </p:nvPr>
        </p:nvSpPr>
        <p:spPr>
          <a:xfrm>
            <a:off x="838200" y="338076"/>
            <a:ext cx="9512328" cy="432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&lt; Agenda &gt; Arial 28, BOLD</a:t>
            </a:r>
            <a:endParaRPr lang="en-MY" dirty="0"/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194759"/>
            <a:ext cx="10515600" cy="4982204"/>
          </a:xfrm>
        </p:spPr>
        <p:txBody>
          <a:bodyPr>
            <a:normAutofit/>
          </a:bodyPr>
          <a:lstStyle>
            <a:lvl1pPr>
              <a:defRPr sz="1800" baseline="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&lt;Text&gt; Arial 18, BOLD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18326736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194759"/>
            <a:ext cx="10515600" cy="4982204"/>
          </a:xfrm>
        </p:spPr>
        <p:txBody>
          <a:bodyPr>
            <a:normAutofit/>
          </a:bodyPr>
          <a:lstStyle>
            <a:lvl1pPr>
              <a:defRPr sz="1800" baseline="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&lt;Text&gt; Arial 18, BOLD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&lt; Title &gt; Arial 28, BOLD</a:t>
            </a:r>
            <a:endParaRPr lang="en-MY" dirty="0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762759"/>
            <a:ext cx="9511200" cy="432000"/>
          </a:xfrm>
        </p:spPr>
        <p:txBody>
          <a:bodyPr anchor="t">
            <a:noAutofit/>
          </a:bodyPr>
          <a:lstStyle>
            <a:lvl1pPr marL="0" indent="0"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&lt; Sub-title &gt; Arial 20, BOLD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14174702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&lt; Title &gt; Arial 28, BOLD</a:t>
            </a:r>
            <a:endParaRPr lang="en-MY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762759"/>
            <a:ext cx="9511200" cy="432000"/>
          </a:xfrm>
        </p:spPr>
        <p:txBody>
          <a:bodyPr anchor="t">
            <a:noAutofit/>
          </a:bodyPr>
          <a:lstStyle>
            <a:lvl1pPr marL="0" indent="0"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&lt; Sub-title &gt; Arial 20, BOLD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16328942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ctr"/>
          <a:lstStyle>
            <a:lvl1pPr>
              <a:defRPr sz="6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 smtClean="0"/>
              <a:t>&lt; Title &gt; Arial 48, BOLD</a:t>
            </a:r>
            <a:endParaRPr lang="en-MY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&lt; Sub-title &gt; Arial 24, BOLD</a:t>
            </a:r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23022636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Blo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>
            <a:extLst>
              <a:ext uri="{FF2B5EF4-FFF2-40B4-BE49-F238E27FC236}">
                <a16:creationId xmlns:a16="http://schemas.microsoft.com/office/drawing/2014/main" id="{2CAA1A3A-99DA-7D4A-B72A-F74083972BC5}"/>
              </a:ext>
            </a:extLst>
          </p:cNvPr>
          <p:cNvSpPr>
            <a:spLocks noChangeAspect="1"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395642" y="2907024"/>
            <a:ext cx="661461" cy="1015931"/>
          </a:xfrm>
          <a:custGeom>
            <a:avLst/>
            <a:gdLst>
              <a:gd name="T0" fmla="*/ 5404 w 5406"/>
              <a:gd name="T1" fmla="*/ 6550 h 8305"/>
              <a:gd name="T2" fmla="*/ 4561 w 5406"/>
              <a:gd name="T3" fmla="*/ 6035 h 8305"/>
              <a:gd name="T4" fmla="*/ 3205 w 5406"/>
              <a:gd name="T5" fmla="*/ 6224 h 8305"/>
              <a:gd name="T6" fmla="*/ 3599 w 5406"/>
              <a:gd name="T7" fmla="*/ 4777 h 8305"/>
              <a:gd name="T8" fmla="*/ 3827 w 5406"/>
              <a:gd name="T9" fmla="*/ 4259 h 8305"/>
              <a:gd name="T10" fmla="*/ 3405 w 5406"/>
              <a:gd name="T11" fmla="*/ 3666 h 8305"/>
              <a:gd name="T12" fmla="*/ 3474 w 5406"/>
              <a:gd name="T13" fmla="*/ 3019 h 8305"/>
              <a:gd name="T14" fmla="*/ 4377 w 5406"/>
              <a:gd name="T15" fmla="*/ 3600 h 8305"/>
              <a:gd name="T16" fmla="*/ 4014 w 5406"/>
              <a:gd name="T17" fmla="*/ 4586 h 8305"/>
              <a:gd name="T18" fmla="*/ 3716 w 5406"/>
              <a:gd name="T19" fmla="*/ 4870 h 8305"/>
              <a:gd name="T20" fmla="*/ 3723 w 5406"/>
              <a:gd name="T21" fmla="*/ 4882 h 8305"/>
              <a:gd name="T22" fmla="*/ 3815 w 5406"/>
              <a:gd name="T23" fmla="*/ 5128 h 8305"/>
              <a:gd name="T24" fmla="*/ 3898 w 5406"/>
              <a:gd name="T25" fmla="*/ 5157 h 8305"/>
              <a:gd name="T26" fmla="*/ 4256 w 5406"/>
              <a:gd name="T27" fmla="*/ 4811 h 8305"/>
              <a:gd name="T28" fmla="*/ 4377 w 5406"/>
              <a:gd name="T29" fmla="*/ 4714 h 8305"/>
              <a:gd name="T30" fmla="*/ 4464 w 5406"/>
              <a:gd name="T31" fmla="*/ 4595 h 8305"/>
              <a:gd name="T32" fmla="*/ 4553 w 5406"/>
              <a:gd name="T33" fmla="*/ 4447 h 8305"/>
              <a:gd name="T34" fmla="*/ 4655 w 5406"/>
              <a:gd name="T35" fmla="*/ 4242 h 8305"/>
              <a:gd name="T36" fmla="*/ 4728 w 5406"/>
              <a:gd name="T37" fmla="*/ 4062 h 8305"/>
              <a:gd name="T38" fmla="*/ 4786 w 5406"/>
              <a:gd name="T39" fmla="*/ 3880 h 8305"/>
              <a:gd name="T40" fmla="*/ 4824 w 5406"/>
              <a:gd name="T41" fmla="*/ 3684 h 8305"/>
              <a:gd name="T42" fmla="*/ 4795 w 5406"/>
              <a:gd name="T43" fmla="*/ 3376 h 8305"/>
              <a:gd name="T44" fmla="*/ 3561 w 5406"/>
              <a:gd name="T45" fmla="*/ 1433 h 8305"/>
              <a:gd name="T46" fmla="*/ 3527 w 5406"/>
              <a:gd name="T47" fmla="*/ 1203 h 8305"/>
              <a:gd name="T48" fmla="*/ 3572 w 5406"/>
              <a:gd name="T49" fmla="*/ 1079 h 8305"/>
              <a:gd name="T50" fmla="*/ 3595 w 5406"/>
              <a:gd name="T51" fmla="*/ 977 h 8305"/>
              <a:gd name="T52" fmla="*/ 3602 w 5406"/>
              <a:gd name="T53" fmla="*/ 896 h 8305"/>
              <a:gd name="T54" fmla="*/ 3599 w 5406"/>
              <a:gd name="T55" fmla="*/ 828 h 8305"/>
              <a:gd name="T56" fmla="*/ 3465 w 5406"/>
              <a:gd name="T57" fmla="*/ 579 h 8305"/>
              <a:gd name="T58" fmla="*/ 3396 w 5406"/>
              <a:gd name="T59" fmla="*/ 542 h 8305"/>
              <a:gd name="T60" fmla="*/ 3332 w 5406"/>
              <a:gd name="T61" fmla="*/ 526 h 8305"/>
              <a:gd name="T62" fmla="*/ 3283 w 5406"/>
              <a:gd name="T63" fmla="*/ 523 h 8305"/>
              <a:gd name="T64" fmla="*/ 3262 w 5406"/>
              <a:gd name="T65" fmla="*/ 524 h 8305"/>
              <a:gd name="T66" fmla="*/ 1941 w 5406"/>
              <a:gd name="T67" fmla="*/ 210 h 8305"/>
              <a:gd name="T68" fmla="*/ 1860 w 5406"/>
              <a:gd name="T69" fmla="*/ 1103 h 8305"/>
              <a:gd name="T70" fmla="*/ 1696 w 5406"/>
              <a:gd name="T71" fmla="*/ 1408 h 8305"/>
              <a:gd name="T72" fmla="*/ 1721 w 5406"/>
              <a:gd name="T73" fmla="*/ 1488 h 8305"/>
              <a:gd name="T74" fmla="*/ 1760 w 5406"/>
              <a:gd name="T75" fmla="*/ 1553 h 8305"/>
              <a:gd name="T76" fmla="*/ 1813 w 5406"/>
              <a:gd name="T77" fmla="*/ 1589 h 8305"/>
              <a:gd name="T78" fmla="*/ 1971 w 5406"/>
              <a:gd name="T79" fmla="*/ 1924 h 8305"/>
              <a:gd name="T80" fmla="*/ 2072 w 5406"/>
              <a:gd name="T81" fmla="*/ 2012 h 8305"/>
              <a:gd name="T82" fmla="*/ 2212 w 5406"/>
              <a:gd name="T83" fmla="*/ 2079 h 8305"/>
              <a:gd name="T84" fmla="*/ 2402 w 5406"/>
              <a:gd name="T85" fmla="*/ 2119 h 8305"/>
              <a:gd name="T86" fmla="*/ 1766 w 5406"/>
              <a:gd name="T87" fmla="*/ 2498 h 8305"/>
              <a:gd name="T88" fmla="*/ 1751 w 5406"/>
              <a:gd name="T89" fmla="*/ 2545 h 8305"/>
              <a:gd name="T90" fmla="*/ 1733 w 5406"/>
              <a:gd name="T91" fmla="*/ 2611 h 8305"/>
              <a:gd name="T92" fmla="*/ 1713 w 5406"/>
              <a:gd name="T93" fmla="*/ 2693 h 8305"/>
              <a:gd name="T94" fmla="*/ 1692 w 5406"/>
              <a:gd name="T95" fmla="*/ 2790 h 8305"/>
              <a:gd name="T96" fmla="*/ 765 w 5406"/>
              <a:gd name="T97" fmla="*/ 3326 h 8305"/>
              <a:gd name="T98" fmla="*/ 457 w 5406"/>
              <a:gd name="T99" fmla="*/ 2929 h 8305"/>
              <a:gd name="T100" fmla="*/ 247 w 5406"/>
              <a:gd name="T101" fmla="*/ 2918 h 8305"/>
              <a:gd name="T102" fmla="*/ 17 w 5406"/>
              <a:gd name="T103" fmla="*/ 3119 h 8305"/>
              <a:gd name="T104" fmla="*/ 13 w 5406"/>
              <a:gd name="T105" fmla="*/ 3260 h 8305"/>
              <a:gd name="T106" fmla="*/ 1777 w 5406"/>
              <a:gd name="T107" fmla="*/ 4062 h 8305"/>
              <a:gd name="T108" fmla="*/ 2110 w 5406"/>
              <a:gd name="T109" fmla="*/ 4579 h 8305"/>
              <a:gd name="T110" fmla="*/ 1116 w 5406"/>
              <a:gd name="T111" fmla="*/ 7385 h 8305"/>
              <a:gd name="T112" fmla="*/ 1066 w 5406"/>
              <a:gd name="T113" fmla="*/ 7683 h 8305"/>
              <a:gd name="T114" fmla="*/ 1060 w 5406"/>
              <a:gd name="T115" fmla="*/ 7998 h 8305"/>
              <a:gd name="T116" fmla="*/ 466 w 5406"/>
              <a:gd name="T117" fmla="*/ 7962 h 8305"/>
              <a:gd name="T118" fmla="*/ 1249 w 5406"/>
              <a:gd name="T119" fmla="*/ 8304 h 8305"/>
              <a:gd name="T120" fmla="*/ 5253 w 5406"/>
              <a:gd name="T121" fmla="*/ 6608 h 8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06" h="8305">
                <a:moveTo>
                  <a:pt x="1968" y="3514"/>
                </a:moveTo>
                <a:lnTo>
                  <a:pt x="1968" y="3514"/>
                </a:lnTo>
                <a:cubicBezTo>
                  <a:pt x="1968" y="3513"/>
                  <a:pt x="1968" y="3513"/>
                  <a:pt x="1968" y="3512"/>
                </a:cubicBezTo>
                <a:lnTo>
                  <a:pt x="1968" y="3512"/>
                </a:lnTo>
                <a:cubicBezTo>
                  <a:pt x="1974" y="3542"/>
                  <a:pt x="1979" y="3572"/>
                  <a:pt x="1985" y="3603"/>
                </a:cubicBezTo>
                <a:lnTo>
                  <a:pt x="1985" y="3603"/>
                </a:lnTo>
                <a:cubicBezTo>
                  <a:pt x="1979" y="3575"/>
                  <a:pt x="1974" y="3545"/>
                  <a:pt x="1968" y="3514"/>
                </a:cubicBezTo>
                <a:close/>
                <a:moveTo>
                  <a:pt x="5397" y="6582"/>
                </a:moveTo>
                <a:lnTo>
                  <a:pt x="5397" y="6582"/>
                </a:lnTo>
                <a:cubicBezTo>
                  <a:pt x="5397" y="6582"/>
                  <a:pt x="5397" y="6581"/>
                  <a:pt x="5398" y="6580"/>
                </a:cubicBezTo>
                <a:lnTo>
                  <a:pt x="5398" y="6580"/>
                </a:lnTo>
                <a:cubicBezTo>
                  <a:pt x="5398" y="6577"/>
                  <a:pt x="5399" y="6575"/>
                  <a:pt x="5400" y="6572"/>
                </a:cubicBezTo>
                <a:lnTo>
                  <a:pt x="5400" y="6572"/>
                </a:lnTo>
                <a:cubicBezTo>
                  <a:pt x="5400" y="6572"/>
                  <a:pt x="5401" y="6571"/>
                  <a:pt x="5401" y="6570"/>
                </a:cubicBezTo>
                <a:lnTo>
                  <a:pt x="5401" y="6570"/>
                </a:lnTo>
                <a:cubicBezTo>
                  <a:pt x="5401" y="6567"/>
                  <a:pt x="5402" y="6565"/>
                  <a:pt x="5402" y="6562"/>
                </a:cubicBezTo>
                <a:lnTo>
                  <a:pt x="5402" y="6562"/>
                </a:lnTo>
                <a:cubicBezTo>
                  <a:pt x="5402" y="6561"/>
                  <a:pt x="5402" y="6560"/>
                  <a:pt x="5403" y="6559"/>
                </a:cubicBezTo>
                <a:lnTo>
                  <a:pt x="5403" y="6559"/>
                </a:lnTo>
                <a:cubicBezTo>
                  <a:pt x="5403" y="6556"/>
                  <a:pt x="5403" y="6553"/>
                  <a:pt x="5404" y="6550"/>
                </a:cubicBezTo>
                <a:lnTo>
                  <a:pt x="5404" y="6550"/>
                </a:lnTo>
                <a:cubicBezTo>
                  <a:pt x="5404" y="6549"/>
                  <a:pt x="5404" y="6549"/>
                  <a:pt x="5404" y="6548"/>
                </a:cubicBezTo>
                <a:lnTo>
                  <a:pt x="5404" y="6548"/>
                </a:lnTo>
                <a:cubicBezTo>
                  <a:pt x="5405" y="6357"/>
                  <a:pt x="4955" y="5855"/>
                  <a:pt x="4955" y="5855"/>
                </a:cubicBezTo>
                <a:lnTo>
                  <a:pt x="4881" y="5893"/>
                </a:lnTo>
                <a:lnTo>
                  <a:pt x="4818" y="5926"/>
                </a:lnTo>
                <a:lnTo>
                  <a:pt x="4818" y="5926"/>
                </a:lnTo>
                <a:cubicBezTo>
                  <a:pt x="4813" y="5923"/>
                  <a:pt x="4809" y="5920"/>
                  <a:pt x="4804" y="5917"/>
                </a:cubicBezTo>
                <a:lnTo>
                  <a:pt x="4804" y="5917"/>
                </a:lnTo>
                <a:cubicBezTo>
                  <a:pt x="4789" y="5909"/>
                  <a:pt x="4772" y="5902"/>
                  <a:pt x="4755" y="5897"/>
                </a:cubicBezTo>
                <a:lnTo>
                  <a:pt x="4755" y="5897"/>
                </a:lnTo>
                <a:cubicBezTo>
                  <a:pt x="4755" y="5897"/>
                  <a:pt x="4718" y="5927"/>
                  <a:pt x="4656" y="5971"/>
                </a:cubicBezTo>
                <a:lnTo>
                  <a:pt x="4656" y="5971"/>
                </a:lnTo>
                <a:cubicBezTo>
                  <a:pt x="4649" y="5975"/>
                  <a:pt x="4644" y="5979"/>
                  <a:pt x="4637" y="5984"/>
                </a:cubicBezTo>
                <a:lnTo>
                  <a:pt x="4637" y="5984"/>
                </a:lnTo>
                <a:cubicBezTo>
                  <a:pt x="4634" y="5986"/>
                  <a:pt x="4631" y="5988"/>
                  <a:pt x="4627" y="5991"/>
                </a:cubicBezTo>
                <a:lnTo>
                  <a:pt x="4627" y="5991"/>
                </a:lnTo>
                <a:cubicBezTo>
                  <a:pt x="4621" y="5995"/>
                  <a:pt x="4614" y="6000"/>
                  <a:pt x="4607" y="6005"/>
                </a:cubicBezTo>
                <a:lnTo>
                  <a:pt x="4607" y="6005"/>
                </a:lnTo>
                <a:cubicBezTo>
                  <a:pt x="4593" y="6014"/>
                  <a:pt x="4577" y="6025"/>
                  <a:pt x="4561" y="6035"/>
                </a:cubicBezTo>
                <a:lnTo>
                  <a:pt x="4561" y="6035"/>
                </a:lnTo>
                <a:cubicBezTo>
                  <a:pt x="4554" y="6040"/>
                  <a:pt x="4546" y="6045"/>
                  <a:pt x="4537" y="6050"/>
                </a:cubicBezTo>
                <a:lnTo>
                  <a:pt x="4537" y="6050"/>
                </a:lnTo>
                <a:cubicBezTo>
                  <a:pt x="4528" y="6056"/>
                  <a:pt x="4520" y="6061"/>
                  <a:pt x="4511" y="6067"/>
                </a:cubicBezTo>
                <a:lnTo>
                  <a:pt x="4511" y="6067"/>
                </a:lnTo>
                <a:cubicBezTo>
                  <a:pt x="4495" y="6078"/>
                  <a:pt x="4476" y="6089"/>
                  <a:pt x="4457" y="6100"/>
                </a:cubicBezTo>
                <a:lnTo>
                  <a:pt x="4457" y="6100"/>
                </a:lnTo>
                <a:cubicBezTo>
                  <a:pt x="4443" y="6108"/>
                  <a:pt x="4429" y="6117"/>
                  <a:pt x="4414" y="6125"/>
                </a:cubicBezTo>
                <a:lnTo>
                  <a:pt x="4414" y="6125"/>
                </a:lnTo>
                <a:cubicBezTo>
                  <a:pt x="4389" y="6139"/>
                  <a:pt x="4364" y="6154"/>
                  <a:pt x="4338" y="6168"/>
                </a:cubicBezTo>
                <a:lnTo>
                  <a:pt x="4338" y="6168"/>
                </a:lnTo>
                <a:cubicBezTo>
                  <a:pt x="4332" y="6171"/>
                  <a:pt x="4327" y="6173"/>
                  <a:pt x="4322" y="6176"/>
                </a:cubicBezTo>
                <a:lnTo>
                  <a:pt x="4322" y="6176"/>
                </a:lnTo>
                <a:cubicBezTo>
                  <a:pt x="3988" y="6352"/>
                  <a:pt x="3533" y="6503"/>
                  <a:pt x="3228" y="6245"/>
                </a:cubicBezTo>
                <a:lnTo>
                  <a:pt x="3228" y="6245"/>
                </a:lnTo>
                <a:cubicBezTo>
                  <a:pt x="3227" y="6244"/>
                  <a:pt x="3226" y="6244"/>
                  <a:pt x="3226" y="6243"/>
                </a:cubicBezTo>
                <a:lnTo>
                  <a:pt x="3226" y="6243"/>
                </a:lnTo>
                <a:cubicBezTo>
                  <a:pt x="3206" y="6218"/>
                  <a:pt x="3194" y="6201"/>
                  <a:pt x="3194" y="6201"/>
                </a:cubicBezTo>
                <a:lnTo>
                  <a:pt x="3194" y="6201"/>
                </a:lnTo>
                <a:cubicBezTo>
                  <a:pt x="3194" y="6201"/>
                  <a:pt x="3198" y="6210"/>
                  <a:pt x="3205" y="6224"/>
                </a:cubicBezTo>
                <a:lnTo>
                  <a:pt x="3205" y="6224"/>
                </a:lnTo>
                <a:cubicBezTo>
                  <a:pt x="3125" y="6150"/>
                  <a:pt x="3057" y="6045"/>
                  <a:pt x="3006" y="5904"/>
                </a:cubicBezTo>
                <a:lnTo>
                  <a:pt x="3006" y="5904"/>
                </a:lnTo>
                <a:cubicBezTo>
                  <a:pt x="3006" y="5904"/>
                  <a:pt x="3369" y="5633"/>
                  <a:pt x="3409" y="5258"/>
                </a:cubicBezTo>
                <a:lnTo>
                  <a:pt x="3409" y="5258"/>
                </a:lnTo>
                <a:cubicBezTo>
                  <a:pt x="3409" y="5257"/>
                  <a:pt x="3409" y="5256"/>
                  <a:pt x="3409" y="5255"/>
                </a:cubicBezTo>
                <a:lnTo>
                  <a:pt x="3409" y="5255"/>
                </a:lnTo>
                <a:cubicBezTo>
                  <a:pt x="3410" y="5246"/>
                  <a:pt x="3411" y="5237"/>
                  <a:pt x="3412" y="5228"/>
                </a:cubicBezTo>
                <a:lnTo>
                  <a:pt x="3412" y="5228"/>
                </a:lnTo>
                <a:lnTo>
                  <a:pt x="3412" y="5227"/>
                </a:lnTo>
                <a:lnTo>
                  <a:pt x="3412" y="5227"/>
                </a:lnTo>
                <a:cubicBezTo>
                  <a:pt x="3412" y="5218"/>
                  <a:pt x="3413" y="5209"/>
                  <a:pt x="3413" y="5199"/>
                </a:cubicBezTo>
                <a:lnTo>
                  <a:pt x="3413" y="5199"/>
                </a:lnTo>
                <a:cubicBezTo>
                  <a:pt x="3413" y="5198"/>
                  <a:pt x="3413" y="5196"/>
                  <a:pt x="3413" y="5194"/>
                </a:cubicBezTo>
                <a:lnTo>
                  <a:pt x="3413" y="5194"/>
                </a:lnTo>
                <a:cubicBezTo>
                  <a:pt x="3413" y="5185"/>
                  <a:pt x="3413" y="5176"/>
                  <a:pt x="3412" y="5167"/>
                </a:cubicBezTo>
                <a:lnTo>
                  <a:pt x="3412" y="5167"/>
                </a:lnTo>
                <a:cubicBezTo>
                  <a:pt x="3408" y="5073"/>
                  <a:pt x="3399" y="4989"/>
                  <a:pt x="3388" y="4914"/>
                </a:cubicBezTo>
                <a:lnTo>
                  <a:pt x="3388" y="4914"/>
                </a:lnTo>
                <a:cubicBezTo>
                  <a:pt x="3488" y="4875"/>
                  <a:pt x="3592" y="4815"/>
                  <a:pt x="3599" y="4777"/>
                </a:cubicBezTo>
                <a:lnTo>
                  <a:pt x="3599" y="4777"/>
                </a:lnTo>
                <a:cubicBezTo>
                  <a:pt x="3602" y="4767"/>
                  <a:pt x="3598" y="4737"/>
                  <a:pt x="3591" y="4694"/>
                </a:cubicBezTo>
                <a:lnTo>
                  <a:pt x="3591" y="4694"/>
                </a:lnTo>
                <a:lnTo>
                  <a:pt x="3591" y="4693"/>
                </a:lnTo>
                <a:lnTo>
                  <a:pt x="3591" y="4693"/>
                </a:lnTo>
                <a:lnTo>
                  <a:pt x="3591" y="4693"/>
                </a:lnTo>
                <a:lnTo>
                  <a:pt x="3591" y="4693"/>
                </a:lnTo>
                <a:cubicBezTo>
                  <a:pt x="3576" y="4606"/>
                  <a:pt x="3547" y="4463"/>
                  <a:pt x="3515" y="4307"/>
                </a:cubicBezTo>
                <a:lnTo>
                  <a:pt x="3515" y="4307"/>
                </a:lnTo>
                <a:cubicBezTo>
                  <a:pt x="3611" y="4323"/>
                  <a:pt x="3711" y="4321"/>
                  <a:pt x="3793" y="4302"/>
                </a:cubicBezTo>
                <a:lnTo>
                  <a:pt x="3793" y="4302"/>
                </a:lnTo>
                <a:cubicBezTo>
                  <a:pt x="3798" y="4301"/>
                  <a:pt x="3806" y="4298"/>
                  <a:pt x="3808" y="4294"/>
                </a:cubicBezTo>
                <a:lnTo>
                  <a:pt x="3808" y="4294"/>
                </a:lnTo>
                <a:cubicBezTo>
                  <a:pt x="3808" y="4292"/>
                  <a:pt x="3808" y="4289"/>
                  <a:pt x="3808" y="4286"/>
                </a:cubicBezTo>
                <a:lnTo>
                  <a:pt x="3808" y="4286"/>
                </a:lnTo>
                <a:cubicBezTo>
                  <a:pt x="3811" y="4286"/>
                  <a:pt x="3814" y="4285"/>
                  <a:pt x="3816" y="4285"/>
                </a:cubicBezTo>
                <a:lnTo>
                  <a:pt x="3816" y="4285"/>
                </a:lnTo>
                <a:cubicBezTo>
                  <a:pt x="3823" y="4283"/>
                  <a:pt x="3829" y="4281"/>
                  <a:pt x="3831" y="4276"/>
                </a:cubicBezTo>
                <a:lnTo>
                  <a:pt x="3831" y="4276"/>
                </a:lnTo>
                <a:cubicBezTo>
                  <a:pt x="3834" y="4270"/>
                  <a:pt x="3830" y="4264"/>
                  <a:pt x="3827" y="4259"/>
                </a:cubicBezTo>
                <a:lnTo>
                  <a:pt x="3827" y="4259"/>
                </a:lnTo>
                <a:cubicBezTo>
                  <a:pt x="3813" y="4236"/>
                  <a:pt x="3799" y="4215"/>
                  <a:pt x="3787" y="4192"/>
                </a:cubicBezTo>
                <a:lnTo>
                  <a:pt x="3787" y="4192"/>
                </a:lnTo>
                <a:cubicBezTo>
                  <a:pt x="3683" y="4005"/>
                  <a:pt x="3557" y="3899"/>
                  <a:pt x="3419" y="3787"/>
                </a:cubicBezTo>
                <a:lnTo>
                  <a:pt x="3419" y="3787"/>
                </a:lnTo>
                <a:cubicBezTo>
                  <a:pt x="3419" y="3785"/>
                  <a:pt x="3419" y="3785"/>
                  <a:pt x="3419" y="3783"/>
                </a:cubicBezTo>
                <a:lnTo>
                  <a:pt x="3419" y="3783"/>
                </a:lnTo>
                <a:cubicBezTo>
                  <a:pt x="3418" y="3775"/>
                  <a:pt x="3417" y="3767"/>
                  <a:pt x="3415" y="3759"/>
                </a:cubicBezTo>
                <a:lnTo>
                  <a:pt x="3415" y="3759"/>
                </a:lnTo>
                <a:cubicBezTo>
                  <a:pt x="3415" y="3755"/>
                  <a:pt x="3414" y="3751"/>
                  <a:pt x="3414" y="3746"/>
                </a:cubicBezTo>
                <a:lnTo>
                  <a:pt x="3414" y="3746"/>
                </a:lnTo>
                <a:cubicBezTo>
                  <a:pt x="3413" y="3739"/>
                  <a:pt x="3412" y="3732"/>
                  <a:pt x="3412" y="3725"/>
                </a:cubicBezTo>
                <a:lnTo>
                  <a:pt x="3412" y="3725"/>
                </a:lnTo>
                <a:cubicBezTo>
                  <a:pt x="3411" y="3721"/>
                  <a:pt x="3410" y="3717"/>
                  <a:pt x="3410" y="3713"/>
                </a:cubicBezTo>
                <a:lnTo>
                  <a:pt x="3410" y="3713"/>
                </a:lnTo>
                <a:cubicBezTo>
                  <a:pt x="3409" y="3707"/>
                  <a:pt x="3409" y="3701"/>
                  <a:pt x="3408" y="3694"/>
                </a:cubicBezTo>
                <a:lnTo>
                  <a:pt x="3408" y="3694"/>
                </a:lnTo>
                <a:cubicBezTo>
                  <a:pt x="3408" y="3691"/>
                  <a:pt x="3407" y="3687"/>
                  <a:pt x="3407" y="3683"/>
                </a:cubicBezTo>
                <a:lnTo>
                  <a:pt x="3407" y="3683"/>
                </a:lnTo>
                <a:cubicBezTo>
                  <a:pt x="3406" y="3677"/>
                  <a:pt x="3406" y="3671"/>
                  <a:pt x="3405" y="3666"/>
                </a:cubicBezTo>
                <a:lnTo>
                  <a:pt x="3405" y="3666"/>
                </a:lnTo>
                <a:cubicBezTo>
                  <a:pt x="3405" y="3663"/>
                  <a:pt x="3405" y="3659"/>
                  <a:pt x="3405" y="3656"/>
                </a:cubicBezTo>
                <a:lnTo>
                  <a:pt x="3405" y="3656"/>
                </a:lnTo>
                <a:cubicBezTo>
                  <a:pt x="3404" y="3650"/>
                  <a:pt x="3404" y="3645"/>
                  <a:pt x="3404" y="3639"/>
                </a:cubicBezTo>
                <a:lnTo>
                  <a:pt x="3404" y="3639"/>
                </a:lnTo>
                <a:cubicBezTo>
                  <a:pt x="3404" y="3637"/>
                  <a:pt x="3404" y="3634"/>
                  <a:pt x="3404" y="3632"/>
                </a:cubicBezTo>
                <a:lnTo>
                  <a:pt x="3404" y="3632"/>
                </a:lnTo>
                <a:cubicBezTo>
                  <a:pt x="3404" y="3624"/>
                  <a:pt x="3404" y="3617"/>
                  <a:pt x="3404" y="3611"/>
                </a:cubicBezTo>
                <a:lnTo>
                  <a:pt x="3404" y="3611"/>
                </a:lnTo>
                <a:cubicBezTo>
                  <a:pt x="3404" y="3598"/>
                  <a:pt x="3405" y="3581"/>
                  <a:pt x="3407" y="3562"/>
                </a:cubicBezTo>
                <a:lnTo>
                  <a:pt x="3407" y="3562"/>
                </a:lnTo>
                <a:lnTo>
                  <a:pt x="3407" y="3562"/>
                </a:lnTo>
                <a:cubicBezTo>
                  <a:pt x="3413" y="3492"/>
                  <a:pt x="3425" y="3385"/>
                  <a:pt x="3441" y="3264"/>
                </a:cubicBezTo>
                <a:lnTo>
                  <a:pt x="3441" y="3264"/>
                </a:lnTo>
                <a:lnTo>
                  <a:pt x="3441" y="3264"/>
                </a:lnTo>
                <a:lnTo>
                  <a:pt x="3441" y="3264"/>
                </a:lnTo>
                <a:lnTo>
                  <a:pt x="3441" y="3264"/>
                </a:lnTo>
                <a:cubicBezTo>
                  <a:pt x="3451" y="3186"/>
                  <a:pt x="3462" y="3103"/>
                  <a:pt x="3474" y="3019"/>
                </a:cubicBezTo>
                <a:lnTo>
                  <a:pt x="3474" y="3019"/>
                </a:lnTo>
                <a:lnTo>
                  <a:pt x="3474" y="3019"/>
                </a:lnTo>
                <a:lnTo>
                  <a:pt x="3474" y="3019"/>
                </a:lnTo>
                <a:cubicBezTo>
                  <a:pt x="3481" y="2970"/>
                  <a:pt x="3488" y="2921"/>
                  <a:pt x="3496" y="2873"/>
                </a:cubicBezTo>
                <a:lnTo>
                  <a:pt x="3496" y="2873"/>
                </a:lnTo>
                <a:cubicBezTo>
                  <a:pt x="3631" y="2954"/>
                  <a:pt x="4019" y="3190"/>
                  <a:pt x="4231" y="3358"/>
                </a:cubicBezTo>
                <a:lnTo>
                  <a:pt x="4231" y="3358"/>
                </a:lnTo>
                <a:cubicBezTo>
                  <a:pt x="4233" y="3359"/>
                  <a:pt x="4234" y="3361"/>
                  <a:pt x="4235" y="3362"/>
                </a:cubicBezTo>
                <a:lnTo>
                  <a:pt x="4235" y="3362"/>
                </a:lnTo>
                <a:cubicBezTo>
                  <a:pt x="4297" y="3411"/>
                  <a:pt x="4344" y="3454"/>
                  <a:pt x="4364" y="3486"/>
                </a:cubicBezTo>
                <a:lnTo>
                  <a:pt x="4364" y="3486"/>
                </a:lnTo>
                <a:cubicBezTo>
                  <a:pt x="4365" y="3487"/>
                  <a:pt x="4366" y="3489"/>
                  <a:pt x="4367" y="3492"/>
                </a:cubicBezTo>
                <a:lnTo>
                  <a:pt x="4367" y="3492"/>
                </a:lnTo>
                <a:cubicBezTo>
                  <a:pt x="4370" y="3497"/>
                  <a:pt x="4372" y="3504"/>
                  <a:pt x="4374" y="3511"/>
                </a:cubicBezTo>
                <a:lnTo>
                  <a:pt x="4374" y="3511"/>
                </a:lnTo>
                <a:cubicBezTo>
                  <a:pt x="4374" y="3513"/>
                  <a:pt x="4375" y="3515"/>
                  <a:pt x="4375" y="3517"/>
                </a:cubicBezTo>
                <a:lnTo>
                  <a:pt x="4375" y="3517"/>
                </a:lnTo>
                <a:cubicBezTo>
                  <a:pt x="4377" y="3527"/>
                  <a:pt x="4379" y="3538"/>
                  <a:pt x="4379" y="3552"/>
                </a:cubicBezTo>
                <a:lnTo>
                  <a:pt x="4379" y="3552"/>
                </a:lnTo>
                <a:cubicBezTo>
                  <a:pt x="4379" y="3564"/>
                  <a:pt x="4379" y="3578"/>
                  <a:pt x="4377" y="3592"/>
                </a:cubicBezTo>
                <a:lnTo>
                  <a:pt x="4377" y="3592"/>
                </a:lnTo>
                <a:cubicBezTo>
                  <a:pt x="4377" y="3595"/>
                  <a:pt x="4377" y="3597"/>
                  <a:pt x="4377" y="3600"/>
                </a:cubicBezTo>
                <a:lnTo>
                  <a:pt x="4377" y="3600"/>
                </a:lnTo>
                <a:cubicBezTo>
                  <a:pt x="4375" y="3615"/>
                  <a:pt x="4373" y="3631"/>
                  <a:pt x="4370" y="3648"/>
                </a:cubicBezTo>
                <a:lnTo>
                  <a:pt x="4370" y="3648"/>
                </a:lnTo>
                <a:lnTo>
                  <a:pt x="4370" y="3648"/>
                </a:lnTo>
                <a:lnTo>
                  <a:pt x="4370" y="3648"/>
                </a:lnTo>
                <a:cubicBezTo>
                  <a:pt x="4327" y="3883"/>
                  <a:pt x="4147" y="4278"/>
                  <a:pt x="4062" y="4457"/>
                </a:cubicBezTo>
                <a:lnTo>
                  <a:pt x="4062" y="4457"/>
                </a:lnTo>
                <a:lnTo>
                  <a:pt x="4062" y="4457"/>
                </a:lnTo>
                <a:cubicBezTo>
                  <a:pt x="4042" y="4501"/>
                  <a:pt x="4026" y="4532"/>
                  <a:pt x="4020" y="4544"/>
                </a:cubicBezTo>
                <a:lnTo>
                  <a:pt x="4020" y="4544"/>
                </a:lnTo>
                <a:cubicBezTo>
                  <a:pt x="4020" y="4545"/>
                  <a:pt x="4019" y="4545"/>
                  <a:pt x="4019" y="4546"/>
                </a:cubicBezTo>
                <a:lnTo>
                  <a:pt x="4019" y="4546"/>
                </a:lnTo>
                <a:cubicBezTo>
                  <a:pt x="4019" y="4547"/>
                  <a:pt x="4018" y="4548"/>
                  <a:pt x="4018" y="4549"/>
                </a:cubicBezTo>
                <a:lnTo>
                  <a:pt x="4018" y="4549"/>
                </a:lnTo>
                <a:cubicBezTo>
                  <a:pt x="4017" y="4550"/>
                  <a:pt x="4017" y="4551"/>
                  <a:pt x="4017" y="4551"/>
                </a:cubicBezTo>
                <a:lnTo>
                  <a:pt x="4017" y="4551"/>
                </a:lnTo>
                <a:cubicBezTo>
                  <a:pt x="4020" y="4556"/>
                  <a:pt x="4025" y="4560"/>
                  <a:pt x="4029" y="4565"/>
                </a:cubicBezTo>
                <a:lnTo>
                  <a:pt x="4017" y="4582"/>
                </a:lnTo>
                <a:lnTo>
                  <a:pt x="4014" y="4586"/>
                </a:lnTo>
                <a:lnTo>
                  <a:pt x="4014" y="4586"/>
                </a:lnTo>
                <a:cubicBezTo>
                  <a:pt x="4025" y="4603"/>
                  <a:pt x="4036" y="4620"/>
                  <a:pt x="4048" y="4635"/>
                </a:cubicBezTo>
                <a:lnTo>
                  <a:pt x="4039" y="4649"/>
                </a:lnTo>
                <a:lnTo>
                  <a:pt x="4023" y="4674"/>
                </a:lnTo>
                <a:lnTo>
                  <a:pt x="4023" y="4674"/>
                </a:lnTo>
                <a:cubicBezTo>
                  <a:pt x="4023" y="4674"/>
                  <a:pt x="3852" y="4611"/>
                  <a:pt x="3770" y="4698"/>
                </a:cubicBezTo>
                <a:lnTo>
                  <a:pt x="3770" y="4698"/>
                </a:lnTo>
                <a:cubicBezTo>
                  <a:pt x="3745" y="4725"/>
                  <a:pt x="3724" y="4759"/>
                  <a:pt x="3696" y="4784"/>
                </a:cubicBezTo>
                <a:lnTo>
                  <a:pt x="3696" y="4784"/>
                </a:lnTo>
                <a:cubicBezTo>
                  <a:pt x="3680" y="4798"/>
                  <a:pt x="3655" y="4810"/>
                  <a:pt x="3655" y="4831"/>
                </a:cubicBezTo>
                <a:lnTo>
                  <a:pt x="3655" y="4831"/>
                </a:lnTo>
                <a:cubicBezTo>
                  <a:pt x="3655" y="4857"/>
                  <a:pt x="3680" y="4868"/>
                  <a:pt x="3705" y="4870"/>
                </a:cubicBezTo>
                <a:lnTo>
                  <a:pt x="3705" y="4870"/>
                </a:lnTo>
                <a:cubicBezTo>
                  <a:pt x="3705" y="4870"/>
                  <a:pt x="3705" y="4870"/>
                  <a:pt x="3706" y="4870"/>
                </a:cubicBezTo>
                <a:lnTo>
                  <a:pt x="3706" y="4870"/>
                </a:lnTo>
                <a:cubicBezTo>
                  <a:pt x="3707" y="4870"/>
                  <a:pt x="3709" y="4870"/>
                  <a:pt x="3710" y="4870"/>
                </a:cubicBezTo>
                <a:lnTo>
                  <a:pt x="3710" y="4870"/>
                </a:lnTo>
                <a:cubicBezTo>
                  <a:pt x="3711" y="4870"/>
                  <a:pt x="3712" y="4870"/>
                  <a:pt x="3712" y="4870"/>
                </a:cubicBezTo>
                <a:lnTo>
                  <a:pt x="3712" y="4870"/>
                </a:lnTo>
                <a:cubicBezTo>
                  <a:pt x="3713" y="4870"/>
                  <a:pt x="3715" y="4870"/>
                  <a:pt x="3716" y="4870"/>
                </a:cubicBezTo>
                <a:lnTo>
                  <a:pt x="3716" y="4870"/>
                </a:lnTo>
                <a:cubicBezTo>
                  <a:pt x="3716" y="4870"/>
                  <a:pt x="3717" y="4870"/>
                  <a:pt x="3718" y="4870"/>
                </a:cubicBezTo>
                <a:lnTo>
                  <a:pt x="3718" y="4870"/>
                </a:lnTo>
                <a:cubicBezTo>
                  <a:pt x="3719" y="4870"/>
                  <a:pt x="3720" y="4870"/>
                  <a:pt x="3721" y="4870"/>
                </a:cubicBezTo>
                <a:lnTo>
                  <a:pt x="3721" y="4870"/>
                </a:lnTo>
                <a:cubicBezTo>
                  <a:pt x="3722" y="4870"/>
                  <a:pt x="3723" y="4869"/>
                  <a:pt x="3724" y="4869"/>
                </a:cubicBezTo>
                <a:lnTo>
                  <a:pt x="3724" y="4869"/>
                </a:lnTo>
                <a:lnTo>
                  <a:pt x="3724" y="4869"/>
                </a:lnTo>
                <a:lnTo>
                  <a:pt x="3724" y="4869"/>
                </a:lnTo>
                <a:cubicBezTo>
                  <a:pt x="3724" y="4870"/>
                  <a:pt x="3723" y="4870"/>
                  <a:pt x="3723" y="4870"/>
                </a:cubicBezTo>
                <a:lnTo>
                  <a:pt x="3723" y="4870"/>
                </a:lnTo>
                <a:cubicBezTo>
                  <a:pt x="3723" y="4870"/>
                  <a:pt x="3726" y="4871"/>
                  <a:pt x="3728" y="4872"/>
                </a:cubicBezTo>
                <a:lnTo>
                  <a:pt x="3728" y="4872"/>
                </a:lnTo>
                <a:cubicBezTo>
                  <a:pt x="3728" y="4872"/>
                  <a:pt x="3728" y="4872"/>
                  <a:pt x="3727" y="4873"/>
                </a:cubicBezTo>
                <a:lnTo>
                  <a:pt x="3727" y="4873"/>
                </a:lnTo>
                <a:cubicBezTo>
                  <a:pt x="3727" y="4874"/>
                  <a:pt x="3726" y="4875"/>
                  <a:pt x="3726" y="4876"/>
                </a:cubicBezTo>
                <a:lnTo>
                  <a:pt x="3726" y="4876"/>
                </a:lnTo>
                <a:cubicBezTo>
                  <a:pt x="3726" y="4877"/>
                  <a:pt x="3725" y="4878"/>
                  <a:pt x="3725" y="4878"/>
                </a:cubicBezTo>
                <a:lnTo>
                  <a:pt x="3725" y="4878"/>
                </a:lnTo>
                <a:cubicBezTo>
                  <a:pt x="3725" y="4880"/>
                  <a:pt x="3724" y="4881"/>
                  <a:pt x="3723" y="4882"/>
                </a:cubicBezTo>
                <a:lnTo>
                  <a:pt x="3723" y="4882"/>
                </a:lnTo>
                <a:cubicBezTo>
                  <a:pt x="3723" y="4882"/>
                  <a:pt x="3723" y="4883"/>
                  <a:pt x="3722" y="4884"/>
                </a:cubicBezTo>
                <a:lnTo>
                  <a:pt x="3722" y="4884"/>
                </a:lnTo>
                <a:cubicBezTo>
                  <a:pt x="3721" y="4885"/>
                  <a:pt x="3721" y="4887"/>
                  <a:pt x="3720" y="4889"/>
                </a:cubicBezTo>
                <a:lnTo>
                  <a:pt x="3720" y="4889"/>
                </a:lnTo>
                <a:lnTo>
                  <a:pt x="3720" y="4890"/>
                </a:lnTo>
                <a:lnTo>
                  <a:pt x="3720" y="4890"/>
                </a:lnTo>
                <a:cubicBezTo>
                  <a:pt x="3719" y="4892"/>
                  <a:pt x="3718" y="4894"/>
                  <a:pt x="3717" y="4896"/>
                </a:cubicBezTo>
                <a:lnTo>
                  <a:pt x="3717" y="4896"/>
                </a:lnTo>
                <a:lnTo>
                  <a:pt x="3717" y="4896"/>
                </a:lnTo>
                <a:lnTo>
                  <a:pt x="3717" y="4896"/>
                </a:lnTo>
                <a:cubicBezTo>
                  <a:pt x="3700" y="4942"/>
                  <a:pt x="3687" y="5017"/>
                  <a:pt x="3716" y="5046"/>
                </a:cubicBezTo>
                <a:lnTo>
                  <a:pt x="3716" y="5046"/>
                </a:lnTo>
                <a:cubicBezTo>
                  <a:pt x="3712" y="5045"/>
                  <a:pt x="3709" y="5043"/>
                  <a:pt x="3709" y="5043"/>
                </a:cubicBezTo>
                <a:lnTo>
                  <a:pt x="3709" y="5043"/>
                </a:lnTo>
                <a:cubicBezTo>
                  <a:pt x="3709" y="5043"/>
                  <a:pt x="3713" y="5050"/>
                  <a:pt x="3725" y="5057"/>
                </a:cubicBezTo>
                <a:lnTo>
                  <a:pt x="3725" y="5057"/>
                </a:lnTo>
                <a:cubicBezTo>
                  <a:pt x="3733" y="5063"/>
                  <a:pt x="3747" y="5067"/>
                  <a:pt x="3762" y="5066"/>
                </a:cubicBezTo>
                <a:lnTo>
                  <a:pt x="3762" y="5066"/>
                </a:lnTo>
                <a:cubicBezTo>
                  <a:pt x="3771" y="5092"/>
                  <a:pt x="3791" y="5114"/>
                  <a:pt x="3815" y="5128"/>
                </a:cubicBezTo>
                <a:lnTo>
                  <a:pt x="3815" y="5128"/>
                </a:lnTo>
                <a:lnTo>
                  <a:pt x="3815" y="5128"/>
                </a:lnTo>
                <a:cubicBezTo>
                  <a:pt x="3817" y="5129"/>
                  <a:pt x="3819" y="5130"/>
                  <a:pt x="3821" y="5131"/>
                </a:cubicBezTo>
                <a:lnTo>
                  <a:pt x="3821" y="5131"/>
                </a:lnTo>
                <a:cubicBezTo>
                  <a:pt x="3822" y="5131"/>
                  <a:pt x="3823" y="5132"/>
                  <a:pt x="3823" y="5132"/>
                </a:cubicBezTo>
                <a:lnTo>
                  <a:pt x="3823" y="5132"/>
                </a:lnTo>
                <a:lnTo>
                  <a:pt x="3824" y="5133"/>
                </a:lnTo>
                <a:lnTo>
                  <a:pt x="3824" y="5133"/>
                </a:lnTo>
                <a:cubicBezTo>
                  <a:pt x="3821" y="5133"/>
                  <a:pt x="3820" y="5133"/>
                  <a:pt x="3820" y="5133"/>
                </a:cubicBezTo>
                <a:lnTo>
                  <a:pt x="3820" y="5133"/>
                </a:lnTo>
                <a:cubicBezTo>
                  <a:pt x="3820" y="5133"/>
                  <a:pt x="3828" y="5137"/>
                  <a:pt x="3842" y="5141"/>
                </a:cubicBezTo>
                <a:lnTo>
                  <a:pt x="3842" y="5141"/>
                </a:lnTo>
                <a:cubicBezTo>
                  <a:pt x="3851" y="5144"/>
                  <a:pt x="3864" y="5147"/>
                  <a:pt x="3878" y="5145"/>
                </a:cubicBezTo>
                <a:lnTo>
                  <a:pt x="3878" y="5145"/>
                </a:lnTo>
                <a:cubicBezTo>
                  <a:pt x="3879" y="5145"/>
                  <a:pt x="3879" y="5145"/>
                  <a:pt x="3879" y="5145"/>
                </a:cubicBezTo>
                <a:lnTo>
                  <a:pt x="3879" y="5145"/>
                </a:lnTo>
                <a:cubicBezTo>
                  <a:pt x="3882" y="5146"/>
                  <a:pt x="3885" y="5148"/>
                  <a:pt x="3888" y="5150"/>
                </a:cubicBezTo>
                <a:lnTo>
                  <a:pt x="3888" y="5150"/>
                </a:lnTo>
                <a:cubicBezTo>
                  <a:pt x="3890" y="5151"/>
                  <a:pt x="3892" y="5153"/>
                  <a:pt x="3894" y="5154"/>
                </a:cubicBezTo>
                <a:lnTo>
                  <a:pt x="3894" y="5154"/>
                </a:lnTo>
                <a:cubicBezTo>
                  <a:pt x="3895" y="5155"/>
                  <a:pt x="3897" y="5156"/>
                  <a:pt x="3898" y="5157"/>
                </a:cubicBezTo>
                <a:lnTo>
                  <a:pt x="3898" y="5157"/>
                </a:lnTo>
                <a:cubicBezTo>
                  <a:pt x="3912" y="5167"/>
                  <a:pt x="3931" y="5171"/>
                  <a:pt x="3948" y="5169"/>
                </a:cubicBezTo>
                <a:lnTo>
                  <a:pt x="3948" y="5169"/>
                </a:lnTo>
                <a:cubicBezTo>
                  <a:pt x="3953" y="5168"/>
                  <a:pt x="3958" y="5167"/>
                  <a:pt x="3963" y="5165"/>
                </a:cubicBezTo>
                <a:lnTo>
                  <a:pt x="3963" y="5165"/>
                </a:lnTo>
                <a:cubicBezTo>
                  <a:pt x="3962" y="5166"/>
                  <a:pt x="3961" y="5166"/>
                  <a:pt x="3961" y="5166"/>
                </a:cubicBezTo>
                <a:lnTo>
                  <a:pt x="3961" y="5166"/>
                </a:lnTo>
                <a:cubicBezTo>
                  <a:pt x="3961" y="5166"/>
                  <a:pt x="3966" y="5168"/>
                  <a:pt x="3974" y="5168"/>
                </a:cubicBezTo>
                <a:lnTo>
                  <a:pt x="3974" y="5168"/>
                </a:lnTo>
                <a:cubicBezTo>
                  <a:pt x="3977" y="5169"/>
                  <a:pt x="3979" y="5171"/>
                  <a:pt x="3981" y="5172"/>
                </a:cubicBezTo>
                <a:lnTo>
                  <a:pt x="3981" y="5172"/>
                </a:lnTo>
                <a:cubicBezTo>
                  <a:pt x="4054" y="5187"/>
                  <a:pt x="4110" y="5107"/>
                  <a:pt x="4140" y="5054"/>
                </a:cubicBezTo>
                <a:lnTo>
                  <a:pt x="4140" y="5054"/>
                </a:lnTo>
                <a:cubicBezTo>
                  <a:pt x="4167" y="5007"/>
                  <a:pt x="4199" y="4940"/>
                  <a:pt x="4198" y="4880"/>
                </a:cubicBezTo>
                <a:lnTo>
                  <a:pt x="4198" y="4880"/>
                </a:lnTo>
                <a:cubicBezTo>
                  <a:pt x="4198" y="4865"/>
                  <a:pt x="4197" y="4852"/>
                  <a:pt x="4193" y="4840"/>
                </a:cubicBezTo>
                <a:lnTo>
                  <a:pt x="4235" y="4798"/>
                </a:lnTo>
                <a:lnTo>
                  <a:pt x="4235" y="4798"/>
                </a:lnTo>
                <a:cubicBezTo>
                  <a:pt x="4248" y="4807"/>
                  <a:pt x="4256" y="4811"/>
                  <a:pt x="4256" y="4811"/>
                </a:cubicBezTo>
                <a:lnTo>
                  <a:pt x="4256" y="4811"/>
                </a:lnTo>
                <a:cubicBezTo>
                  <a:pt x="4265" y="4806"/>
                  <a:pt x="4283" y="4780"/>
                  <a:pt x="4300" y="4753"/>
                </a:cubicBezTo>
                <a:lnTo>
                  <a:pt x="4300" y="4753"/>
                </a:lnTo>
                <a:cubicBezTo>
                  <a:pt x="4303" y="4754"/>
                  <a:pt x="4306" y="4756"/>
                  <a:pt x="4308" y="4757"/>
                </a:cubicBezTo>
                <a:lnTo>
                  <a:pt x="4308" y="4757"/>
                </a:lnTo>
                <a:cubicBezTo>
                  <a:pt x="4313" y="4760"/>
                  <a:pt x="4317" y="4761"/>
                  <a:pt x="4320" y="4763"/>
                </a:cubicBezTo>
                <a:lnTo>
                  <a:pt x="4320" y="4763"/>
                </a:lnTo>
                <a:cubicBezTo>
                  <a:pt x="4324" y="4765"/>
                  <a:pt x="4326" y="4766"/>
                  <a:pt x="4328" y="4767"/>
                </a:cubicBezTo>
                <a:lnTo>
                  <a:pt x="4328" y="4767"/>
                </a:lnTo>
                <a:cubicBezTo>
                  <a:pt x="4329" y="4768"/>
                  <a:pt x="4330" y="4768"/>
                  <a:pt x="4330" y="4768"/>
                </a:cubicBezTo>
                <a:lnTo>
                  <a:pt x="4330" y="4768"/>
                </a:lnTo>
                <a:cubicBezTo>
                  <a:pt x="4335" y="4763"/>
                  <a:pt x="4339" y="4759"/>
                  <a:pt x="4345" y="4753"/>
                </a:cubicBezTo>
                <a:lnTo>
                  <a:pt x="4345" y="4753"/>
                </a:lnTo>
                <a:cubicBezTo>
                  <a:pt x="4346" y="4751"/>
                  <a:pt x="4347" y="4750"/>
                  <a:pt x="4348" y="4749"/>
                </a:cubicBezTo>
                <a:lnTo>
                  <a:pt x="4348" y="4749"/>
                </a:lnTo>
                <a:cubicBezTo>
                  <a:pt x="4352" y="4744"/>
                  <a:pt x="4356" y="4740"/>
                  <a:pt x="4361" y="4735"/>
                </a:cubicBezTo>
                <a:lnTo>
                  <a:pt x="4361" y="4735"/>
                </a:lnTo>
                <a:cubicBezTo>
                  <a:pt x="4361" y="4734"/>
                  <a:pt x="4362" y="4733"/>
                  <a:pt x="4363" y="4732"/>
                </a:cubicBezTo>
                <a:lnTo>
                  <a:pt x="4363" y="4732"/>
                </a:lnTo>
                <a:cubicBezTo>
                  <a:pt x="4367" y="4726"/>
                  <a:pt x="4373" y="4720"/>
                  <a:pt x="4377" y="4714"/>
                </a:cubicBezTo>
                <a:lnTo>
                  <a:pt x="4377" y="4714"/>
                </a:lnTo>
                <a:cubicBezTo>
                  <a:pt x="4379" y="4713"/>
                  <a:pt x="4380" y="4711"/>
                  <a:pt x="4381" y="4710"/>
                </a:cubicBezTo>
                <a:lnTo>
                  <a:pt x="4381" y="4710"/>
                </a:lnTo>
                <a:cubicBezTo>
                  <a:pt x="4385" y="4704"/>
                  <a:pt x="4389" y="4699"/>
                  <a:pt x="4394" y="4694"/>
                </a:cubicBezTo>
                <a:lnTo>
                  <a:pt x="4394" y="4694"/>
                </a:lnTo>
                <a:cubicBezTo>
                  <a:pt x="4395" y="4693"/>
                  <a:pt x="4396" y="4691"/>
                  <a:pt x="4397" y="4690"/>
                </a:cubicBezTo>
                <a:lnTo>
                  <a:pt x="4397" y="4690"/>
                </a:lnTo>
                <a:cubicBezTo>
                  <a:pt x="4402" y="4683"/>
                  <a:pt x="4407" y="4676"/>
                  <a:pt x="4412" y="4669"/>
                </a:cubicBezTo>
                <a:lnTo>
                  <a:pt x="4412" y="4669"/>
                </a:lnTo>
                <a:cubicBezTo>
                  <a:pt x="4414" y="4668"/>
                  <a:pt x="4415" y="4666"/>
                  <a:pt x="4415" y="4665"/>
                </a:cubicBezTo>
                <a:lnTo>
                  <a:pt x="4415" y="4665"/>
                </a:lnTo>
                <a:cubicBezTo>
                  <a:pt x="4420" y="4659"/>
                  <a:pt x="4424" y="4653"/>
                  <a:pt x="4428" y="4648"/>
                </a:cubicBezTo>
                <a:lnTo>
                  <a:pt x="4428" y="4648"/>
                </a:lnTo>
                <a:cubicBezTo>
                  <a:pt x="4429" y="4645"/>
                  <a:pt x="4431" y="4643"/>
                  <a:pt x="4432" y="4642"/>
                </a:cubicBezTo>
                <a:lnTo>
                  <a:pt x="4432" y="4642"/>
                </a:lnTo>
                <a:cubicBezTo>
                  <a:pt x="4437" y="4634"/>
                  <a:pt x="4443" y="4627"/>
                  <a:pt x="4448" y="4619"/>
                </a:cubicBezTo>
                <a:lnTo>
                  <a:pt x="4448" y="4619"/>
                </a:lnTo>
                <a:cubicBezTo>
                  <a:pt x="4448" y="4618"/>
                  <a:pt x="4449" y="4618"/>
                  <a:pt x="4449" y="4617"/>
                </a:cubicBezTo>
                <a:lnTo>
                  <a:pt x="4449" y="4617"/>
                </a:lnTo>
                <a:cubicBezTo>
                  <a:pt x="4454" y="4610"/>
                  <a:pt x="4458" y="4602"/>
                  <a:pt x="4464" y="4595"/>
                </a:cubicBezTo>
                <a:lnTo>
                  <a:pt x="4464" y="4595"/>
                </a:lnTo>
                <a:cubicBezTo>
                  <a:pt x="4465" y="4593"/>
                  <a:pt x="4466" y="4590"/>
                  <a:pt x="4468" y="4589"/>
                </a:cubicBezTo>
                <a:lnTo>
                  <a:pt x="4468" y="4589"/>
                </a:lnTo>
                <a:cubicBezTo>
                  <a:pt x="4473" y="4581"/>
                  <a:pt x="4477" y="4573"/>
                  <a:pt x="4483" y="4566"/>
                </a:cubicBezTo>
                <a:lnTo>
                  <a:pt x="4483" y="4566"/>
                </a:lnTo>
                <a:cubicBezTo>
                  <a:pt x="4483" y="4565"/>
                  <a:pt x="4483" y="4565"/>
                  <a:pt x="4484" y="4563"/>
                </a:cubicBezTo>
                <a:lnTo>
                  <a:pt x="4484" y="4563"/>
                </a:lnTo>
                <a:cubicBezTo>
                  <a:pt x="4489" y="4555"/>
                  <a:pt x="4495" y="4547"/>
                  <a:pt x="4500" y="4538"/>
                </a:cubicBezTo>
                <a:lnTo>
                  <a:pt x="4500" y="4538"/>
                </a:lnTo>
                <a:cubicBezTo>
                  <a:pt x="4501" y="4536"/>
                  <a:pt x="4503" y="4534"/>
                  <a:pt x="4504" y="4531"/>
                </a:cubicBezTo>
                <a:lnTo>
                  <a:pt x="4504" y="4531"/>
                </a:lnTo>
                <a:cubicBezTo>
                  <a:pt x="4508" y="4524"/>
                  <a:pt x="4513" y="4517"/>
                  <a:pt x="4517" y="4509"/>
                </a:cubicBezTo>
                <a:lnTo>
                  <a:pt x="4517" y="4509"/>
                </a:lnTo>
                <a:cubicBezTo>
                  <a:pt x="4518" y="4507"/>
                  <a:pt x="4519" y="4506"/>
                  <a:pt x="4520" y="4504"/>
                </a:cubicBezTo>
                <a:lnTo>
                  <a:pt x="4520" y="4504"/>
                </a:lnTo>
                <a:cubicBezTo>
                  <a:pt x="4526" y="4495"/>
                  <a:pt x="4531" y="4486"/>
                  <a:pt x="4536" y="4477"/>
                </a:cubicBezTo>
                <a:lnTo>
                  <a:pt x="4536" y="4477"/>
                </a:lnTo>
                <a:cubicBezTo>
                  <a:pt x="4537" y="4475"/>
                  <a:pt x="4538" y="4472"/>
                  <a:pt x="4539" y="4471"/>
                </a:cubicBezTo>
                <a:lnTo>
                  <a:pt x="4539" y="4471"/>
                </a:lnTo>
                <a:cubicBezTo>
                  <a:pt x="4544" y="4463"/>
                  <a:pt x="4548" y="4456"/>
                  <a:pt x="4553" y="4447"/>
                </a:cubicBezTo>
                <a:lnTo>
                  <a:pt x="4553" y="4447"/>
                </a:lnTo>
                <a:cubicBezTo>
                  <a:pt x="4554" y="4445"/>
                  <a:pt x="4555" y="4443"/>
                  <a:pt x="4556" y="4441"/>
                </a:cubicBezTo>
                <a:lnTo>
                  <a:pt x="4556" y="4441"/>
                </a:lnTo>
                <a:cubicBezTo>
                  <a:pt x="4561" y="4431"/>
                  <a:pt x="4567" y="4421"/>
                  <a:pt x="4571" y="4412"/>
                </a:cubicBezTo>
                <a:lnTo>
                  <a:pt x="4571" y="4412"/>
                </a:lnTo>
                <a:cubicBezTo>
                  <a:pt x="4573" y="4410"/>
                  <a:pt x="4573" y="4409"/>
                  <a:pt x="4574" y="4407"/>
                </a:cubicBezTo>
                <a:lnTo>
                  <a:pt x="4574" y="4407"/>
                </a:lnTo>
                <a:cubicBezTo>
                  <a:pt x="4578" y="4399"/>
                  <a:pt x="4583" y="4390"/>
                  <a:pt x="4587" y="4381"/>
                </a:cubicBezTo>
                <a:lnTo>
                  <a:pt x="4587" y="4381"/>
                </a:lnTo>
                <a:cubicBezTo>
                  <a:pt x="4588" y="4379"/>
                  <a:pt x="4590" y="4377"/>
                  <a:pt x="4591" y="4374"/>
                </a:cubicBezTo>
                <a:lnTo>
                  <a:pt x="4591" y="4374"/>
                </a:lnTo>
                <a:cubicBezTo>
                  <a:pt x="4601" y="4354"/>
                  <a:pt x="4612" y="4334"/>
                  <a:pt x="4622" y="4313"/>
                </a:cubicBezTo>
                <a:lnTo>
                  <a:pt x="4622" y="4313"/>
                </a:lnTo>
                <a:cubicBezTo>
                  <a:pt x="4623" y="4310"/>
                  <a:pt x="4624" y="4308"/>
                  <a:pt x="4626" y="4305"/>
                </a:cubicBezTo>
                <a:lnTo>
                  <a:pt x="4626" y="4305"/>
                </a:lnTo>
                <a:cubicBezTo>
                  <a:pt x="4629" y="4296"/>
                  <a:pt x="4634" y="4287"/>
                  <a:pt x="4638" y="4278"/>
                </a:cubicBezTo>
                <a:lnTo>
                  <a:pt x="4638" y="4278"/>
                </a:lnTo>
                <a:cubicBezTo>
                  <a:pt x="4639" y="4276"/>
                  <a:pt x="4639" y="4275"/>
                  <a:pt x="4641" y="4273"/>
                </a:cubicBezTo>
                <a:lnTo>
                  <a:pt x="4641" y="4273"/>
                </a:lnTo>
                <a:cubicBezTo>
                  <a:pt x="4646" y="4263"/>
                  <a:pt x="4650" y="4253"/>
                  <a:pt x="4655" y="4242"/>
                </a:cubicBezTo>
                <a:lnTo>
                  <a:pt x="4655" y="4242"/>
                </a:lnTo>
                <a:cubicBezTo>
                  <a:pt x="4656" y="4239"/>
                  <a:pt x="4657" y="4237"/>
                  <a:pt x="4658" y="4235"/>
                </a:cubicBezTo>
                <a:lnTo>
                  <a:pt x="4658" y="4235"/>
                </a:lnTo>
                <a:cubicBezTo>
                  <a:pt x="4662" y="4226"/>
                  <a:pt x="4666" y="4217"/>
                  <a:pt x="4670" y="4208"/>
                </a:cubicBezTo>
                <a:lnTo>
                  <a:pt x="4670" y="4208"/>
                </a:lnTo>
                <a:cubicBezTo>
                  <a:pt x="4671" y="4206"/>
                  <a:pt x="4672" y="4203"/>
                  <a:pt x="4673" y="4201"/>
                </a:cubicBezTo>
                <a:lnTo>
                  <a:pt x="4673" y="4201"/>
                </a:lnTo>
                <a:cubicBezTo>
                  <a:pt x="4677" y="4191"/>
                  <a:pt x="4682" y="4180"/>
                  <a:pt x="4687" y="4169"/>
                </a:cubicBezTo>
                <a:lnTo>
                  <a:pt x="4687" y="4169"/>
                </a:lnTo>
                <a:cubicBezTo>
                  <a:pt x="4687" y="4167"/>
                  <a:pt x="4688" y="4165"/>
                  <a:pt x="4689" y="4164"/>
                </a:cubicBezTo>
                <a:lnTo>
                  <a:pt x="4689" y="4164"/>
                </a:lnTo>
                <a:cubicBezTo>
                  <a:pt x="4692" y="4154"/>
                  <a:pt x="4697" y="4145"/>
                  <a:pt x="4700" y="4136"/>
                </a:cubicBezTo>
                <a:lnTo>
                  <a:pt x="4700" y="4136"/>
                </a:lnTo>
                <a:cubicBezTo>
                  <a:pt x="4701" y="4133"/>
                  <a:pt x="4702" y="4131"/>
                  <a:pt x="4703" y="4128"/>
                </a:cubicBezTo>
                <a:lnTo>
                  <a:pt x="4703" y="4128"/>
                </a:lnTo>
                <a:cubicBezTo>
                  <a:pt x="4708" y="4117"/>
                  <a:pt x="4712" y="4106"/>
                  <a:pt x="4716" y="4095"/>
                </a:cubicBezTo>
                <a:lnTo>
                  <a:pt x="4716" y="4095"/>
                </a:lnTo>
                <a:cubicBezTo>
                  <a:pt x="4716" y="4094"/>
                  <a:pt x="4717" y="4094"/>
                  <a:pt x="4717" y="4093"/>
                </a:cubicBezTo>
                <a:lnTo>
                  <a:pt x="4717" y="4093"/>
                </a:lnTo>
                <a:cubicBezTo>
                  <a:pt x="4720" y="4082"/>
                  <a:pt x="4724" y="4072"/>
                  <a:pt x="4728" y="4062"/>
                </a:cubicBezTo>
                <a:lnTo>
                  <a:pt x="4728" y="4062"/>
                </a:lnTo>
                <a:cubicBezTo>
                  <a:pt x="4729" y="4060"/>
                  <a:pt x="4730" y="4057"/>
                  <a:pt x="4731" y="4054"/>
                </a:cubicBezTo>
                <a:lnTo>
                  <a:pt x="4731" y="4054"/>
                </a:lnTo>
                <a:cubicBezTo>
                  <a:pt x="4735" y="4044"/>
                  <a:pt x="4738" y="4034"/>
                  <a:pt x="4742" y="4023"/>
                </a:cubicBezTo>
                <a:lnTo>
                  <a:pt x="4742" y="4023"/>
                </a:lnTo>
                <a:cubicBezTo>
                  <a:pt x="4742" y="4023"/>
                  <a:pt x="4742" y="4021"/>
                  <a:pt x="4743" y="4021"/>
                </a:cubicBezTo>
                <a:lnTo>
                  <a:pt x="4743" y="4021"/>
                </a:lnTo>
                <a:cubicBezTo>
                  <a:pt x="4747" y="4010"/>
                  <a:pt x="4750" y="3999"/>
                  <a:pt x="4753" y="3988"/>
                </a:cubicBezTo>
                <a:lnTo>
                  <a:pt x="4753" y="3988"/>
                </a:lnTo>
                <a:cubicBezTo>
                  <a:pt x="4755" y="3985"/>
                  <a:pt x="4755" y="3983"/>
                  <a:pt x="4756" y="3980"/>
                </a:cubicBezTo>
                <a:lnTo>
                  <a:pt x="4756" y="3980"/>
                </a:lnTo>
                <a:cubicBezTo>
                  <a:pt x="4759" y="3971"/>
                  <a:pt x="4762" y="3961"/>
                  <a:pt x="4765" y="3953"/>
                </a:cubicBezTo>
                <a:lnTo>
                  <a:pt x="4765" y="3953"/>
                </a:lnTo>
                <a:cubicBezTo>
                  <a:pt x="4766" y="3950"/>
                  <a:pt x="4766" y="3949"/>
                  <a:pt x="4767" y="3946"/>
                </a:cubicBezTo>
                <a:lnTo>
                  <a:pt x="4767" y="3946"/>
                </a:lnTo>
                <a:cubicBezTo>
                  <a:pt x="4770" y="3936"/>
                  <a:pt x="4773" y="3924"/>
                  <a:pt x="4776" y="3914"/>
                </a:cubicBezTo>
                <a:lnTo>
                  <a:pt x="4776" y="3914"/>
                </a:lnTo>
                <a:cubicBezTo>
                  <a:pt x="4777" y="3911"/>
                  <a:pt x="4778" y="3909"/>
                  <a:pt x="4778" y="3907"/>
                </a:cubicBezTo>
                <a:lnTo>
                  <a:pt x="4778" y="3907"/>
                </a:lnTo>
                <a:cubicBezTo>
                  <a:pt x="4781" y="3898"/>
                  <a:pt x="4783" y="3889"/>
                  <a:pt x="4786" y="3880"/>
                </a:cubicBezTo>
                <a:lnTo>
                  <a:pt x="4786" y="3880"/>
                </a:lnTo>
                <a:cubicBezTo>
                  <a:pt x="4786" y="3878"/>
                  <a:pt x="4787" y="3875"/>
                  <a:pt x="4788" y="3873"/>
                </a:cubicBezTo>
                <a:lnTo>
                  <a:pt x="4788" y="3873"/>
                </a:lnTo>
                <a:cubicBezTo>
                  <a:pt x="4790" y="3862"/>
                  <a:pt x="4793" y="3851"/>
                  <a:pt x="4796" y="3840"/>
                </a:cubicBezTo>
                <a:lnTo>
                  <a:pt x="4796" y="3840"/>
                </a:lnTo>
                <a:cubicBezTo>
                  <a:pt x="4796" y="3839"/>
                  <a:pt x="4796" y="3838"/>
                  <a:pt x="4797" y="3836"/>
                </a:cubicBezTo>
                <a:lnTo>
                  <a:pt x="4797" y="3836"/>
                </a:lnTo>
                <a:cubicBezTo>
                  <a:pt x="4799" y="3826"/>
                  <a:pt x="4801" y="3818"/>
                  <a:pt x="4803" y="3808"/>
                </a:cubicBezTo>
                <a:lnTo>
                  <a:pt x="4803" y="3808"/>
                </a:lnTo>
                <a:cubicBezTo>
                  <a:pt x="4803" y="3805"/>
                  <a:pt x="4804" y="3803"/>
                  <a:pt x="4804" y="3800"/>
                </a:cubicBezTo>
                <a:lnTo>
                  <a:pt x="4804" y="3800"/>
                </a:lnTo>
                <a:cubicBezTo>
                  <a:pt x="4809" y="3780"/>
                  <a:pt x="4813" y="3760"/>
                  <a:pt x="4816" y="3741"/>
                </a:cubicBezTo>
                <a:lnTo>
                  <a:pt x="4816" y="3741"/>
                </a:lnTo>
                <a:cubicBezTo>
                  <a:pt x="4817" y="3738"/>
                  <a:pt x="4817" y="3735"/>
                  <a:pt x="4818" y="3733"/>
                </a:cubicBezTo>
                <a:lnTo>
                  <a:pt x="4818" y="3733"/>
                </a:lnTo>
                <a:cubicBezTo>
                  <a:pt x="4819" y="3726"/>
                  <a:pt x="4820" y="3719"/>
                  <a:pt x="4820" y="3713"/>
                </a:cubicBezTo>
                <a:lnTo>
                  <a:pt x="4820" y="3713"/>
                </a:lnTo>
                <a:cubicBezTo>
                  <a:pt x="4821" y="3710"/>
                  <a:pt x="4822" y="3707"/>
                  <a:pt x="4822" y="3704"/>
                </a:cubicBezTo>
                <a:lnTo>
                  <a:pt x="4822" y="3704"/>
                </a:lnTo>
                <a:cubicBezTo>
                  <a:pt x="4823" y="3698"/>
                  <a:pt x="4823" y="3691"/>
                  <a:pt x="4824" y="3684"/>
                </a:cubicBezTo>
                <a:lnTo>
                  <a:pt x="4824" y="3684"/>
                </a:lnTo>
                <a:cubicBezTo>
                  <a:pt x="4824" y="3682"/>
                  <a:pt x="4825" y="3679"/>
                  <a:pt x="4825" y="3677"/>
                </a:cubicBezTo>
                <a:lnTo>
                  <a:pt x="4825" y="3677"/>
                </a:lnTo>
                <a:cubicBezTo>
                  <a:pt x="4828" y="3659"/>
                  <a:pt x="4829" y="3641"/>
                  <a:pt x="4830" y="3624"/>
                </a:cubicBezTo>
                <a:lnTo>
                  <a:pt x="4830" y="3624"/>
                </a:lnTo>
                <a:cubicBezTo>
                  <a:pt x="4830" y="3621"/>
                  <a:pt x="4830" y="3619"/>
                  <a:pt x="4830" y="3617"/>
                </a:cubicBezTo>
                <a:lnTo>
                  <a:pt x="4830" y="3617"/>
                </a:lnTo>
                <a:cubicBezTo>
                  <a:pt x="4830" y="3611"/>
                  <a:pt x="4831" y="3604"/>
                  <a:pt x="4831" y="3598"/>
                </a:cubicBezTo>
                <a:lnTo>
                  <a:pt x="4831" y="3598"/>
                </a:lnTo>
                <a:cubicBezTo>
                  <a:pt x="4831" y="3596"/>
                  <a:pt x="4831" y="3593"/>
                  <a:pt x="4831" y="3590"/>
                </a:cubicBezTo>
                <a:lnTo>
                  <a:pt x="4831" y="3590"/>
                </a:lnTo>
                <a:cubicBezTo>
                  <a:pt x="4831" y="3584"/>
                  <a:pt x="4832" y="3578"/>
                  <a:pt x="4831" y="3572"/>
                </a:cubicBezTo>
                <a:lnTo>
                  <a:pt x="4831" y="3572"/>
                </a:lnTo>
                <a:cubicBezTo>
                  <a:pt x="4831" y="3570"/>
                  <a:pt x="4831" y="3567"/>
                  <a:pt x="4831" y="3565"/>
                </a:cubicBezTo>
                <a:lnTo>
                  <a:pt x="4831" y="3565"/>
                </a:lnTo>
                <a:cubicBezTo>
                  <a:pt x="4831" y="3528"/>
                  <a:pt x="4828" y="3493"/>
                  <a:pt x="4821" y="3460"/>
                </a:cubicBezTo>
                <a:lnTo>
                  <a:pt x="4821" y="3460"/>
                </a:lnTo>
                <a:cubicBezTo>
                  <a:pt x="4816" y="3435"/>
                  <a:pt x="4809" y="3412"/>
                  <a:pt x="4800" y="3389"/>
                </a:cubicBezTo>
                <a:lnTo>
                  <a:pt x="4800" y="3389"/>
                </a:lnTo>
                <a:cubicBezTo>
                  <a:pt x="4799" y="3385"/>
                  <a:pt x="4797" y="3381"/>
                  <a:pt x="4795" y="3376"/>
                </a:cubicBezTo>
                <a:lnTo>
                  <a:pt x="4795" y="3376"/>
                </a:lnTo>
                <a:cubicBezTo>
                  <a:pt x="4639" y="3032"/>
                  <a:pt x="3679" y="2378"/>
                  <a:pt x="3605" y="2328"/>
                </a:cubicBezTo>
                <a:lnTo>
                  <a:pt x="3605" y="2328"/>
                </a:lnTo>
                <a:cubicBezTo>
                  <a:pt x="3599" y="2268"/>
                  <a:pt x="3183" y="2195"/>
                  <a:pt x="3039" y="2219"/>
                </a:cubicBezTo>
                <a:lnTo>
                  <a:pt x="3039" y="2219"/>
                </a:lnTo>
                <a:cubicBezTo>
                  <a:pt x="2983" y="2158"/>
                  <a:pt x="2926" y="2142"/>
                  <a:pt x="2926" y="2142"/>
                </a:cubicBezTo>
                <a:lnTo>
                  <a:pt x="2926" y="2142"/>
                </a:lnTo>
                <a:cubicBezTo>
                  <a:pt x="2901" y="2122"/>
                  <a:pt x="2889" y="2139"/>
                  <a:pt x="2888" y="2142"/>
                </a:cubicBezTo>
                <a:lnTo>
                  <a:pt x="2888" y="2142"/>
                </a:lnTo>
                <a:cubicBezTo>
                  <a:pt x="2886" y="2141"/>
                  <a:pt x="2884" y="2141"/>
                  <a:pt x="2882" y="2140"/>
                </a:cubicBezTo>
                <a:lnTo>
                  <a:pt x="2882" y="2140"/>
                </a:lnTo>
                <a:cubicBezTo>
                  <a:pt x="2884" y="2141"/>
                  <a:pt x="2885" y="2142"/>
                  <a:pt x="2885" y="2145"/>
                </a:cubicBezTo>
                <a:lnTo>
                  <a:pt x="2885" y="2145"/>
                </a:lnTo>
                <a:cubicBezTo>
                  <a:pt x="2885" y="2151"/>
                  <a:pt x="2883" y="2162"/>
                  <a:pt x="2879" y="2175"/>
                </a:cubicBezTo>
                <a:lnTo>
                  <a:pt x="2880" y="2075"/>
                </a:lnTo>
                <a:lnTo>
                  <a:pt x="2880" y="2075"/>
                </a:lnTo>
                <a:cubicBezTo>
                  <a:pt x="3125" y="1998"/>
                  <a:pt x="3294" y="1842"/>
                  <a:pt x="3343" y="1650"/>
                </a:cubicBezTo>
                <a:lnTo>
                  <a:pt x="3343" y="1650"/>
                </a:lnTo>
                <a:cubicBezTo>
                  <a:pt x="3343" y="1650"/>
                  <a:pt x="3518" y="1642"/>
                  <a:pt x="3558" y="1448"/>
                </a:cubicBezTo>
                <a:lnTo>
                  <a:pt x="3558" y="1448"/>
                </a:lnTo>
                <a:cubicBezTo>
                  <a:pt x="3559" y="1443"/>
                  <a:pt x="3561" y="1438"/>
                  <a:pt x="3561" y="1433"/>
                </a:cubicBezTo>
                <a:lnTo>
                  <a:pt x="3561" y="1433"/>
                </a:lnTo>
                <a:cubicBezTo>
                  <a:pt x="3561" y="1432"/>
                  <a:pt x="3561" y="1430"/>
                  <a:pt x="3562" y="1429"/>
                </a:cubicBezTo>
                <a:lnTo>
                  <a:pt x="3562" y="1429"/>
                </a:lnTo>
                <a:cubicBezTo>
                  <a:pt x="3563" y="1425"/>
                  <a:pt x="3563" y="1421"/>
                  <a:pt x="3563" y="1418"/>
                </a:cubicBezTo>
                <a:lnTo>
                  <a:pt x="3563" y="1418"/>
                </a:lnTo>
                <a:cubicBezTo>
                  <a:pt x="3563" y="1416"/>
                  <a:pt x="3563" y="1415"/>
                  <a:pt x="3564" y="1413"/>
                </a:cubicBezTo>
                <a:lnTo>
                  <a:pt x="3564" y="1413"/>
                </a:lnTo>
                <a:cubicBezTo>
                  <a:pt x="3564" y="1403"/>
                  <a:pt x="3564" y="1393"/>
                  <a:pt x="3564" y="1383"/>
                </a:cubicBezTo>
                <a:lnTo>
                  <a:pt x="3564" y="1383"/>
                </a:lnTo>
                <a:cubicBezTo>
                  <a:pt x="3564" y="1382"/>
                  <a:pt x="3564" y="1381"/>
                  <a:pt x="3564" y="1381"/>
                </a:cubicBezTo>
                <a:lnTo>
                  <a:pt x="3564" y="1381"/>
                </a:lnTo>
                <a:cubicBezTo>
                  <a:pt x="3564" y="1376"/>
                  <a:pt x="3564" y="1372"/>
                  <a:pt x="3563" y="1367"/>
                </a:cubicBezTo>
                <a:lnTo>
                  <a:pt x="3563" y="1366"/>
                </a:lnTo>
                <a:lnTo>
                  <a:pt x="3563" y="1366"/>
                </a:lnTo>
                <a:cubicBezTo>
                  <a:pt x="3557" y="1304"/>
                  <a:pt x="3531" y="1248"/>
                  <a:pt x="3495" y="1212"/>
                </a:cubicBezTo>
                <a:lnTo>
                  <a:pt x="3495" y="1212"/>
                </a:lnTo>
                <a:cubicBezTo>
                  <a:pt x="3508" y="1221"/>
                  <a:pt x="3516" y="1228"/>
                  <a:pt x="3516" y="1228"/>
                </a:cubicBezTo>
                <a:lnTo>
                  <a:pt x="3516" y="1228"/>
                </a:lnTo>
                <a:cubicBezTo>
                  <a:pt x="3520" y="1220"/>
                  <a:pt x="3524" y="1212"/>
                  <a:pt x="3527" y="1203"/>
                </a:cubicBezTo>
                <a:lnTo>
                  <a:pt x="3527" y="1203"/>
                </a:lnTo>
                <a:cubicBezTo>
                  <a:pt x="3528" y="1200"/>
                  <a:pt x="3529" y="1198"/>
                  <a:pt x="3531" y="1196"/>
                </a:cubicBezTo>
                <a:lnTo>
                  <a:pt x="3531" y="1196"/>
                </a:lnTo>
                <a:cubicBezTo>
                  <a:pt x="3533" y="1190"/>
                  <a:pt x="3535" y="1184"/>
                  <a:pt x="3537" y="1178"/>
                </a:cubicBezTo>
                <a:lnTo>
                  <a:pt x="3537" y="1178"/>
                </a:lnTo>
                <a:cubicBezTo>
                  <a:pt x="3538" y="1175"/>
                  <a:pt x="3539" y="1173"/>
                  <a:pt x="3541" y="1170"/>
                </a:cubicBezTo>
                <a:lnTo>
                  <a:pt x="3541" y="1170"/>
                </a:lnTo>
                <a:cubicBezTo>
                  <a:pt x="3543" y="1164"/>
                  <a:pt x="3545" y="1159"/>
                  <a:pt x="3547" y="1154"/>
                </a:cubicBezTo>
                <a:lnTo>
                  <a:pt x="3547" y="1154"/>
                </a:lnTo>
                <a:cubicBezTo>
                  <a:pt x="3548" y="1151"/>
                  <a:pt x="3549" y="1148"/>
                  <a:pt x="3550" y="1146"/>
                </a:cubicBezTo>
                <a:lnTo>
                  <a:pt x="3550" y="1146"/>
                </a:lnTo>
                <a:cubicBezTo>
                  <a:pt x="3553" y="1139"/>
                  <a:pt x="3555" y="1132"/>
                  <a:pt x="3556" y="1126"/>
                </a:cubicBezTo>
                <a:lnTo>
                  <a:pt x="3556" y="1126"/>
                </a:lnTo>
                <a:cubicBezTo>
                  <a:pt x="3557" y="1125"/>
                  <a:pt x="3558" y="1124"/>
                  <a:pt x="3558" y="1123"/>
                </a:cubicBezTo>
                <a:lnTo>
                  <a:pt x="3558" y="1123"/>
                </a:lnTo>
                <a:cubicBezTo>
                  <a:pt x="3561" y="1115"/>
                  <a:pt x="3563" y="1107"/>
                  <a:pt x="3565" y="1101"/>
                </a:cubicBezTo>
                <a:lnTo>
                  <a:pt x="3565" y="1101"/>
                </a:lnTo>
                <a:cubicBezTo>
                  <a:pt x="3566" y="1099"/>
                  <a:pt x="3566" y="1097"/>
                  <a:pt x="3567" y="1095"/>
                </a:cubicBezTo>
                <a:lnTo>
                  <a:pt x="3567" y="1095"/>
                </a:lnTo>
                <a:cubicBezTo>
                  <a:pt x="3568" y="1089"/>
                  <a:pt x="3570" y="1084"/>
                  <a:pt x="3572" y="1079"/>
                </a:cubicBezTo>
                <a:lnTo>
                  <a:pt x="3572" y="1079"/>
                </a:lnTo>
                <a:cubicBezTo>
                  <a:pt x="3572" y="1076"/>
                  <a:pt x="3573" y="1074"/>
                  <a:pt x="3574" y="1072"/>
                </a:cubicBezTo>
                <a:lnTo>
                  <a:pt x="3574" y="1072"/>
                </a:lnTo>
                <a:cubicBezTo>
                  <a:pt x="3575" y="1067"/>
                  <a:pt x="3576" y="1062"/>
                  <a:pt x="3578" y="1058"/>
                </a:cubicBezTo>
                <a:lnTo>
                  <a:pt x="3578" y="1058"/>
                </a:lnTo>
                <a:cubicBezTo>
                  <a:pt x="3578" y="1055"/>
                  <a:pt x="3579" y="1054"/>
                  <a:pt x="3579" y="1051"/>
                </a:cubicBezTo>
                <a:lnTo>
                  <a:pt x="3579" y="1051"/>
                </a:lnTo>
                <a:cubicBezTo>
                  <a:pt x="3581" y="1046"/>
                  <a:pt x="3582" y="1041"/>
                  <a:pt x="3583" y="1035"/>
                </a:cubicBezTo>
                <a:lnTo>
                  <a:pt x="3583" y="1035"/>
                </a:lnTo>
                <a:cubicBezTo>
                  <a:pt x="3584" y="1034"/>
                  <a:pt x="3584" y="1033"/>
                  <a:pt x="3584" y="1032"/>
                </a:cubicBezTo>
                <a:lnTo>
                  <a:pt x="3584" y="1032"/>
                </a:lnTo>
                <a:cubicBezTo>
                  <a:pt x="3586" y="1025"/>
                  <a:pt x="3587" y="1019"/>
                  <a:pt x="3588" y="1013"/>
                </a:cubicBezTo>
                <a:lnTo>
                  <a:pt x="3588" y="1013"/>
                </a:lnTo>
                <a:cubicBezTo>
                  <a:pt x="3589" y="1011"/>
                  <a:pt x="3589" y="1011"/>
                  <a:pt x="3589" y="1010"/>
                </a:cubicBezTo>
                <a:lnTo>
                  <a:pt x="3589" y="1010"/>
                </a:lnTo>
                <a:cubicBezTo>
                  <a:pt x="3590" y="1004"/>
                  <a:pt x="3591" y="1000"/>
                  <a:pt x="3592" y="994"/>
                </a:cubicBezTo>
                <a:lnTo>
                  <a:pt x="3592" y="994"/>
                </a:lnTo>
                <a:cubicBezTo>
                  <a:pt x="3592" y="993"/>
                  <a:pt x="3592" y="991"/>
                  <a:pt x="3593" y="990"/>
                </a:cubicBezTo>
                <a:lnTo>
                  <a:pt x="3593" y="990"/>
                </a:lnTo>
                <a:cubicBezTo>
                  <a:pt x="3594" y="985"/>
                  <a:pt x="3594" y="981"/>
                  <a:pt x="3595" y="977"/>
                </a:cubicBezTo>
                <a:lnTo>
                  <a:pt x="3595" y="977"/>
                </a:lnTo>
                <a:cubicBezTo>
                  <a:pt x="3595" y="975"/>
                  <a:pt x="3595" y="973"/>
                  <a:pt x="3596" y="971"/>
                </a:cubicBezTo>
                <a:lnTo>
                  <a:pt x="3596" y="971"/>
                </a:lnTo>
                <a:cubicBezTo>
                  <a:pt x="3596" y="967"/>
                  <a:pt x="3597" y="963"/>
                  <a:pt x="3598" y="958"/>
                </a:cubicBezTo>
                <a:lnTo>
                  <a:pt x="3598" y="958"/>
                </a:lnTo>
                <a:cubicBezTo>
                  <a:pt x="3598" y="957"/>
                  <a:pt x="3598" y="956"/>
                  <a:pt x="3598" y="955"/>
                </a:cubicBezTo>
                <a:lnTo>
                  <a:pt x="3598" y="955"/>
                </a:lnTo>
                <a:cubicBezTo>
                  <a:pt x="3599" y="950"/>
                  <a:pt x="3599" y="944"/>
                  <a:pt x="3600" y="939"/>
                </a:cubicBezTo>
                <a:lnTo>
                  <a:pt x="3600" y="939"/>
                </a:lnTo>
                <a:lnTo>
                  <a:pt x="3600" y="939"/>
                </a:lnTo>
                <a:lnTo>
                  <a:pt x="3600" y="939"/>
                </a:lnTo>
                <a:cubicBezTo>
                  <a:pt x="3601" y="934"/>
                  <a:pt x="3601" y="929"/>
                  <a:pt x="3601" y="924"/>
                </a:cubicBezTo>
                <a:lnTo>
                  <a:pt x="3601" y="924"/>
                </a:lnTo>
                <a:cubicBezTo>
                  <a:pt x="3601" y="923"/>
                  <a:pt x="3601" y="922"/>
                  <a:pt x="3601" y="921"/>
                </a:cubicBezTo>
                <a:lnTo>
                  <a:pt x="3601" y="921"/>
                </a:lnTo>
                <a:cubicBezTo>
                  <a:pt x="3602" y="917"/>
                  <a:pt x="3602" y="914"/>
                  <a:pt x="3602" y="910"/>
                </a:cubicBezTo>
                <a:lnTo>
                  <a:pt x="3602" y="910"/>
                </a:lnTo>
                <a:cubicBezTo>
                  <a:pt x="3602" y="909"/>
                  <a:pt x="3602" y="907"/>
                  <a:pt x="3602" y="906"/>
                </a:cubicBezTo>
                <a:lnTo>
                  <a:pt x="3602" y="906"/>
                </a:lnTo>
                <a:cubicBezTo>
                  <a:pt x="3602" y="903"/>
                  <a:pt x="3602" y="900"/>
                  <a:pt x="3602" y="896"/>
                </a:cubicBezTo>
                <a:lnTo>
                  <a:pt x="3602" y="896"/>
                </a:lnTo>
                <a:cubicBezTo>
                  <a:pt x="3602" y="895"/>
                  <a:pt x="3602" y="894"/>
                  <a:pt x="3602" y="893"/>
                </a:cubicBezTo>
                <a:lnTo>
                  <a:pt x="3602" y="893"/>
                </a:lnTo>
                <a:cubicBezTo>
                  <a:pt x="3603" y="884"/>
                  <a:pt x="3603" y="877"/>
                  <a:pt x="3602" y="869"/>
                </a:cubicBezTo>
                <a:lnTo>
                  <a:pt x="3602" y="869"/>
                </a:lnTo>
                <a:cubicBezTo>
                  <a:pt x="3602" y="868"/>
                  <a:pt x="3602" y="867"/>
                  <a:pt x="3602" y="866"/>
                </a:cubicBezTo>
                <a:lnTo>
                  <a:pt x="3602" y="866"/>
                </a:lnTo>
                <a:cubicBezTo>
                  <a:pt x="3602" y="863"/>
                  <a:pt x="3602" y="861"/>
                  <a:pt x="3602" y="859"/>
                </a:cubicBezTo>
                <a:lnTo>
                  <a:pt x="3602" y="859"/>
                </a:lnTo>
                <a:cubicBezTo>
                  <a:pt x="3602" y="857"/>
                  <a:pt x="3602" y="856"/>
                  <a:pt x="3602" y="855"/>
                </a:cubicBezTo>
                <a:lnTo>
                  <a:pt x="3602" y="855"/>
                </a:lnTo>
                <a:cubicBezTo>
                  <a:pt x="3602" y="853"/>
                  <a:pt x="3601" y="850"/>
                  <a:pt x="3601" y="849"/>
                </a:cubicBezTo>
                <a:lnTo>
                  <a:pt x="3601" y="849"/>
                </a:lnTo>
                <a:cubicBezTo>
                  <a:pt x="3601" y="847"/>
                  <a:pt x="3601" y="846"/>
                  <a:pt x="3601" y="845"/>
                </a:cubicBezTo>
                <a:lnTo>
                  <a:pt x="3601" y="845"/>
                </a:lnTo>
                <a:cubicBezTo>
                  <a:pt x="3601" y="843"/>
                  <a:pt x="3601" y="840"/>
                  <a:pt x="3600" y="838"/>
                </a:cubicBezTo>
                <a:lnTo>
                  <a:pt x="3600" y="838"/>
                </a:lnTo>
                <a:cubicBezTo>
                  <a:pt x="3600" y="837"/>
                  <a:pt x="3600" y="837"/>
                  <a:pt x="3600" y="836"/>
                </a:cubicBezTo>
                <a:lnTo>
                  <a:pt x="3600" y="836"/>
                </a:lnTo>
                <a:cubicBezTo>
                  <a:pt x="3599" y="833"/>
                  <a:pt x="3599" y="831"/>
                  <a:pt x="3599" y="828"/>
                </a:cubicBezTo>
                <a:lnTo>
                  <a:pt x="3599" y="828"/>
                </a:lnTo>
                <a:cubicBezTo>
                  <a:pt x="3599" y="827"/>
                  <a:pt x="3598" y="826"/>
                  <a:pt x="3598" y="825"/>
                </a:cubicBezTo>
                <a:lnTo>
                  <a:pt x="3598" y="825"/>
                </a:lnTo>
                <a:cubicBezTo>
                  <a:pt x="3598" y="824"/>
                  <a:pt x="3598" y="822"/>
                  <a:pt x="3598" y="821"/>
                </a:cubicBezTo>
                <a:lnTo>
                  <a:pt x="3598" y="821"/>
                </a:lnTo>
                <a:cubicBezTo>
                  <a:pt x="3598" y="820"/>
                  <a:pt x="3597" y="819"/>
                  <a:pt x="3597" y="818"/>
                </a:cubicBezTo>
                <a:lnTo>
                  <a:pt x="3597" y="818"/>
                </a:lnTo>
                <a:cubicBezTo>
                  <a:pt x="3597" y="816"/>
                  <a:pt x="3596" y="815"/>
                  <a:pt x="3596" y="814"/>
                </a:cubicBezTo>
                <a:lnTo>
                  <a:pt x="3596" y="814"/>
                </a:lnTo>
                <a:cubicBezTo>
                  <a:pt x="3596" y="813"/>
                  <a:pt x="3596" y="812"/>
                  <a:pt x="3596" y="811"/>
                </a:cubicBezTo>
                <a:lnTo>
                  <a:pt x="3596" y="811"/>
                </a:lnTo>
                <a:cubicBezTo>
                  <a:pt x="3596" y="810"/>
                  <a:pt x="3595" y="809"/>
                  <a:pt x="3595" y="809"/>
                </a:cubicBezTo>
                <a:lnTo>
                  <a:pt x="3595" y="809"/>
                </a:lnTo>
                <a:cubicBezTo>
                  <a:pt x="3592" y="793"/>
                  <a:pt x="3589" y="785"/>
                  <a:pt x="3589" y="785"/>
                </a:cubicBezTo>
                <a:lnTo>
                  <a:pt x="3589" y="785"/>
                </a:lnTo>
                <a:cubicBezTo>
                  <a:pt x="3566" y="691"/>
                  <a:pt x="3525" y="631"/>
                  <a:pt x="3481" y="591"/>
                </a:cubicBezTo>
                <a:lnTo>
                  <a:pt x="3481" y="591"/>
                </a:lnTo>
                <a:cubicBezTo>
                  <a:pt x="3477" y="588"/>
                  <a:pt x="3473" y="585"/>
                  <a:pt x="3469" y="582"/>
                </a:cubicBezTo>
                <a:lnTo>
                  <a:pt x="3469" y="582"/>
                </a:lnTo>
                <a:cubicBezTo>
                  <a:pt x="3468" y="581"/>
                  <a:pt x="3466" y="580"/>
                  <a:pt x="3465" y="579"/>
                </a:cubicBezTo>
                <a:lnTo>
                  <a:pt x="3465" y="579"/>
                </a:lnTo>
                <a:cubicBezTo>
                  <a:pt x="3462" y="577"/>
                  <a:pt x="3459" y="575"/>
                  <a:pt x="3456" y="572"/>
                </a:cubicBezTo>
                <a:lnTo>
                  <a:pt x="3456" y="572"/>
                </a:lnTo>
                <a:cubicBezTo>
                  <a:pt x="3455" y="572"/>
                  <a:pt x="3454" y="571"/>
                  <a:pt x="3453" y="570"/>
                </a:cubicBezTo>
                <a:lnTo>
                  <a:pt x="3453" y="570"/>
                </a:lnTo>
                <a:cubicBezTo>
                  <a:pt x="3449" y="568"/>
                  <a:pt x="3445" y="566"/>
                  <a:pt x="3442" y="563"/>
                </a:cubicBezTo>
                <a:lnTo>
                  <a:pt x="3442" y="563"/>
                </a:lnTo>
                <a:cubicBezTo>
                  <a:pt x="3440" y="563"/>
                  <a:pt x="3438" y="561"/>
                  <a:pt x="3437" y="561"/>
                </a:cubicBezTo>
                <a:lnTo>
                  <a:pt x="3437" y="561"/>
                </a:lnTo>
                <a:cubicBezTo>
                  <a:pt x="3434" y="559"/>
                  <a:pt x="3432" y="557"/>
                  <a:pt x="3428" y="556"/>
                </a:cubicBezTo>
                <a:lnTo>
                  <a:pt x="3428" y="556"/>
                </a:lnTo>
                <a:cubicBezTo>
                  <a:pt x="3427" y="556"/>
                  <a:pt x="3425" y="555"/>
                  <a:pt x="3424" y="554"/>
                </a:cubicBezTo>
                <a:lnTo>
                  <a:pt x="3424" y="554"/>
                </a:lnTo>
                <a:cubicBezTo>
                  <a:pt x="3421" y="552"/>
                  <a:pt x="3417" y="550"/>
                  <a:pt x="3413" y="548"/>
                </a:cubicBezTo>
                <a:lnTo>
                  <a:pt x="3413" y="548"/>
                </a:lnTo>
                <a:cubicBezTo>
                  <a:pt x="3412" y="548"/>
                  <a:pt x="3410" y="547"/>
                  <a:pt x="3409" y="547"/>
                </a:cubicBezTo>
                <a:lnTo>
                  <a:pt x="3409" y="547"/>
                </a:lnTo>
                <a:cubicBezTo>
                  <a:pt x="3406" y="546"/>
                  <a:pt x="3403" y="544"/>
                  <a:pt x="3401" y="543"/>
                </a:cubicBezTo>
                <a:lnTo>
                  <a:pt x="3401" y="543"/>
                </a:lnTo>
                <a:cubicBezTo>
                  <a:pt x="3399" y="543"/>
                  <a:pt x="3398" y="543"/>
                  <a:pt x="3396" y="542"/>
                </a:cubicBezTo>
                <a:lnTo>
                  <a:pt x="3396" y="542"/>
                </a:lnTo>
                <a:cubicBezTo>
                  <a:pt x="3393" y="540"/>
                  <a:pt x="3389" y="539"/>
                  <a:pt x="3385" y="538"/>
                </a:cubicBezTo>
                <a:lnTo>
                  <a:pt x="3385" y="538"/>
                </a:lnTo>
                <a:cubicBezTo>
                  <a:pt x="3384" y="537"/>
                  <a:pt x="3383" y="537"/>
                  <a:pt x="3382" y="537"/>
                </a:cubicBezTo>
                <a:lnTo>
                  <a:pt x="3382" y="537"/>
                </a:lnTo>
                <a:cubicBezTo>
                  <a:pt x="3379" y="536"/>
                  <a:pt x="3376" y="535"/>
                  <a:pt x="3373" y="534"/>
                </a:cubicBezTo>
                <a:lnTo>
                  <a:pt x="3373" y="534"/>
                </a:lnTo>
                <a:cubicBezTo>
                  <a:pt x="3372" y="534"/>
                  <a:pt x="3371" y="534"/>
                  <a:pt x="3369" y="533"/>
                </a:cubicBezTo>
                <a:lnTo>
                  <a:pt x="3369" y="533"/>
                </a:lnTo>
                <a:cubicBezTo>
                  <a:pt x="3365" y="532"/>
                  <a:pt x="3362" y="531"/>
                  <a:pt x="3359" y="531"/>
                </a:cubicBezTo>
                <a:lnTo>
                  <a:pt x="3359" y="531"/>
                </a:lnTo>
                <a:cubicBezTo>
                  <a:pt x="3358" y="530"/>
                  <a:pt x="3357" y="530"/>
                  <a:pt x="3356" y="530"/>
                </a:cubicBezTo>
                <a:lnTo>
                  <a:pt x="3356" y="530"/>
                </a:lnTo>
                <a:cubicBezTo>
                  <a:pt x="3353" y="530"/>
                  <a:pt x="3350" y="529"/>
                  <a:pt x="3348" y="528"/>
                </a:cubicBezTo>
                <a:lnTo>
                  <a:pt x="3348" y="528"/>
                </a:lnTo>
                <a:cubicBezTo>
                  <a:pt x="3346" y="528"/>
                  <a:pt x="3345" y="528"/>
                  <a:pt x="3344" y="527"/>
                </a:cubicBezTo>
                <a:lnTo>
                  <a:pt x="3344" y="527"/>
                </a:lnTo>
                <a:cubicBezTo>
                  <a:pt x="3341" y="527"/>
                  <a:pt x="3339" y="527"/>
                  <a:pt x="3336" y="526"/>
                </a:cubicBezTo>
                <a:lnTo>
                  <a:pt x="3336" y="526"/>
                </a:lnTo>
                <a:cubicBezTo>
                  <a:pt x="3334" y="526"/>
                  <a:pt x="3333" y="526"/>
                  <a:pt x="3332" y="526"/>
                </a:cubicBezTo>
                <a:lnTo>
                  <a:pt x="3332" y="526"/>
                </a:lnTo>
                <a:cubicBezTo>
                  <a:pt x="3330" y="526"/>
                  <a:pt x="3327" y="525"/>
                  <a:pt x="3324" y="525"/>
                </a:cubicBezTo>
                <a:lnTo>
                  <a:pt x="3324" y="525"/>
                </a:lnTo>
                <a:cubicBezTo>
                  <a:pt x="3323" y="524"/>
                  <a:pt x="3322" y="524"/>
                  <a:pt x="3320" y="524"/>
                </a:cubicBezTo>
                <a:lnTo>
                  <a:pt x="3320" y="524"/>
                </a:lnTo>
                <a:cubicBezTo>
                  <a:pt x="3319" y="524"/>
                  <a:pt x="3316" y="524"/>
                  <a:pt x="3314" y="524"/>
                </a:cubicBezTo>
                <a:lnTo>
                  <a:pt x="3314" y="524"/>
                </a:lnTo>
                <a:cubicBezTo>
                  <a:pt x="3313" y="524"/>
                  <a:pt x="3312" y="524"/>
                  <a:pt x="3312" y="524"/>
                </a:cubicBezTo>
                <a:lnTo>
                  <a:pt x="3312" y="524"/>
                </a:lnTo>
                <a:cubicBezTo>
                  <a:pt x="3309" y="523"/>
                  <a:pt x="3306" y="523"/>
                  <a:pt x="3303" y="523"/>
                </a:cubicBezTo>
                <a:lnTo>
                  <a:pt x="3303" y="523"/>
                </a:lnTo>
                <a:cubicBezTo>
                  <a:pt x="3302" y="523"/>
                  <a:pt x="3302" y="523"/>
                  <a:pt x="3301" y="523"/>
                </a:cubicBezTo>
                <a:lnTo>
                  <a:pt x="3301" y="523"/>
                </a:lnTo>
                <a:cubicBezTo>
                  <a:pt x="3299" y="523"/>
                  <a:pt x="3297" y="523"/>
                  <a:pt x="3295" y="523"/>
                </a:cubicBezTo>
                <a:lnTo>
                  <a:pt x="3295" y="523"/>
                </a:lnTo>
                <a:cubicBezTo>
                  <a:pt x="3294" y="523"/>
                  <a:pt x="3293" y="523"/>
                  <a:pt x="3292" y="523"/>
                </a:cubicBezTo>
                <a:lnTo>
                  <a:pt x="3292" y="523"/>
                </a:lnTo>
                <a:cubicBezTo>
                  <a:pt x="3291" y="523"/>
                  <a:pt x="3288" y="523"/>
                  <a:pt x="3286" y="523"/>
                </a:cubicBezTo>
                <a:lnTo>
                  <a:pt x="3286" y="523"/>
                </a:lnTo>
                <a:cubicBezTo>
                  <a:pt x="3285" y="523"/>
                  <a:pt x="3284" y="523"/>
                  <a:pt x="3283" y="523"/>
                </a:cubicBezTo>
                <a:lnTo>
                  <a:pt x="3283" y="523"/>
                </a:lnTo>
                <a:cubicBezTo>
                  <a:pt x="3282" y="523"/>
                  <a:pt x="3281" y="523"/>
                  <a:pt x="3279" y="523"/>
                </a:cubicBezTo>
                <a:lnTo>
                  <a:pt x="3279" y="523"/>
                </a:lnTo>
                <a:lnTo>
                  <a:pt x="3278" y="523"/>
                </a:lnTo>
                <a:lnTo>
                  <a:pt x="3278" y="523"/>
                </a:lnTo>
                <a:cubicBezTo>
                  <a:pt x="3276" y="523"/>
                  <a:pt x="3274" y="523"/>
                  <a:pt x="3273" y="523"/>
                </a:cubicBezTo>
                <a:lnTo>
                  <a:pt x="3273" y="523"/>
                </a:lnTo>
                <a:cubicBezTo>
                  <a:pt x="3272" y="524"/>
                  <a:pt x="3272" y="524"/>
                  <a:pt x="3271" y="524"/>
                </a:cubicBezTo>
                <a:lnTo>
                  <a:pt x="3271" y="524"/>
                </a:lnTo>
                <a:cubicBezTo>
                  <a:pt x="3270" y="524"/>
                  <a:pt x="3269" y="524"/>
                  <a:pt x="3268" y="524"/>
                </a:cubicBezTo>
                <a:lnTo>
                  <a:pt x="3268" y="524"/>
                </a:lnTo>
                <a:cubicBezTo>
                  <a:pt x="3268" y="524"/>
                  <a:pt x="3268" y="524"/>
                  <a:pt x="3267" y="524"/>
                </a:cubicBezTo>
                <a:lnTo>
                  <a:pt x="3267" y="524"/>
                </a:lnTo>
                <a:cubicBezTo>
                  <a:pt x="3266" y="524"/>
                  <a:pt x="3264" y="524"/>
                  <a:pt x="3264" y="524"/>
                </a:cubicBezTo>
                <a:lnTo>
                  <a:pt x="3264" y="524"/>
                </a:lnTo>
                <a:cubicBezTo>
                  <a:pt x="3264" y="524"/>
                  <a:pt x="3264" y="524"/>
                  <a:pt x="3263" y="524"/>
                </a:cubicBezTo>
                <a:lnTo>
                  <a:pt x="3263" y="524"/>
                </a:lnTo>
                <a:lnTo>
                  <a:pt x="3262" y="524"/>
                </a:lnTo>
                <a:lnTo>
                  <a:pt x="3262" y="524"/>
                </a:lnTo>
                <a:lnTo>
                  <a:pt x="3262" y="524"/>
                </a:lnTo>
                <a:lnTo>
                  <a:pt x="3262" y="524"/>
                </a:lnTo>
                <a:cubicBezTo>
                  <a:pt x="3261" y="524"/>
                  <a:pt x="3261" y="524"/>
                  <a:pt x="3261" y="524"/>
                </a:cubicBezTo>
                <a:lnTo>
                  <a:pt x="3261" y="524"/>
                </a:lnTo>
                <a:cubicBezTo>
                  <a:pt x="3171" y="0"/>
                  <a:pt x="2542" y="216"/>
                  <a:pt x="2446" y="233"/>
                </a:cubicBezTo>
                <a:lnTo>
                  <a:pt x="2446" y="233"/>
                </a:lnTo>
                <a:cubicBezTo>
                  <a:pt x="2427" y="236"/>
                  <a:pt x="2405" y="234"/>
                  <a:pt x="2382" y="226"/>
                </a:cubicBezTo>
                <a:lnTo>
                  <a:pt x="2382" y="226"/>
                </a:lnTo>
                <a:lnTo>
                  <a:pt x="2382" y="226"/>
                </a:lnTo>
                <a:lnTo>
                  <a:pt x="2382" y="226"/>
                </a:lnTo>
                <a:cubicBezTo>
                  <a:pt x="2297" y="200"/>
                  <a:pt x="2199" y="116"/>
                  <a:pt x="2187" y="106"/>
                </a:cubicBezTo>
                <a:lnTo>
                  <a:pt x="2187" y="106"/>
                </a:lnTo>
                <a:lnTo>
                  <a:pt x="2187" y="106"/>
                </a:lnTo>
                <a:lnTo>
                  <a:pt x="2187" y="106"/>
                </a:lnTo>
                <a:cubicBezTo>
                  <a:pt x="2186" y="105"/>
                  <a:pt x="2186" y="104"/>
                  <a:pt x="2186" y="104"/>
                </a:cubicBezTo>
                <a:lnTo>
                  <a:pt x="2176" y="223"/>
                </a:lnTo>
                <a:lnTo>
                  <a:pt x="2176" y="223"/>
                </a:lnTo>
                <a:cubicBezTo>
                  <a:pt x="2140" y="182"/>
                  <a:pt x="2122" y="52"/>
                  <a:pt x="2122" y="52"/>
                </a:cubicBezTo>
                <a:lnTo>
                  <a:pt x="2122" y="52"/>
                </a:lnTo>
                <a:cubicBezTo>
                  <a:pt x="2020" y="97"/>
                  <a:pt x="1994" y="332"/>
                  <a:pt x="1994" y="332"/>
                </a:cubicBezTo>
                <a:lnTo>
                  <a:pt x="1994" y="332"/>
                </a:lnTo>
                <a:cubicBezTo>
                  <a:pt x="1944" y="286"/>
                  <a:pt x="1941" y="210"/>
                  <a:pt x="1941" y="210"/>
                </a:cubicBezTo>
                <a:lnTo>
                  <a:pt x="1941" y="210"/>
                </a:lnTo>
                <a:cubicBezTo>
                  <a:pt x="1941" y="210"/>
                  <a:pt x="1790" y="395"/>
                  <a:pt x="1906" y="570"/>
                </a:cubicBezTo>
                <a:lnTo>
                  <a:pt x="1906" y="570"/>
                </a:lnTo>
                <a:cubicBezTo>
                  <a:pt x="1923" y="596"/>
                  <a:pt x="1941" y="619"/>
                  <a:pt x="1960" y="640"/>
                </a:cubicBezTo>
                <a:lnTo>
                  <a:pt x="1960" y="640"/>
                </a:lnTo>
                <a:cubicBezTo>
                  <a:pt x="1953" y="645"/>
                  <a:pt x="1947" y="652"/>
                  <a:pt x="1940" y="658"/>
                </a:cubicBezTo>
                <a:lnTo>
                  <a:pt x="1940" y="658"/>
                </a:lnTo>
                <a:lnTo>
                  <a:pt x="1940" y="658"/>
                </a:lnTo>
                <a:lnTo>
                  <a:pt x="1940" y="658"/>
                </a:lnTo>
                <a:cubicBezTo>
                  <a:pt x="1934" y="664"/>
                  <a:pt x="1928" y="670"/>
                  <a:pt x="1923" y="677"/>
                </a:cubicBezTo>
                <a:lnTo>
                  <a:pt x="1923" y="677"/>
                </a:lnTo>
                <a:cubicBezTo>
                  <a:pt x="1922" y="677"/>
                  <a:pt x="1921" y="677"/>
                  <a:pt x="1921" y="677"/>
                </a:cubicBezTo>
                <a:lnTo>
                  <a:pt x="1921" y="677"/>
                </a:lnTo>
                <a:cubicBezTo>
                  <a:pt x="1916" y="683"/>
                  <a:pt x="1910" y="690"/>
                  <a:pt x="1905" y="697"/>
                </a:cubicBezTo>
                <a:lnTo>
                  <a:pt x="1905" y="697"/>
                </a:lnTo>
                <a:lnTo>
                  <a:pt x="1905" y="697"/>
                </a:lnTo>
                <a:lnTo>
                  <a:pt x="1905" y="697"/>
                </a:lnTo>
                <a:cubicBezTo>
                  <a:pt x="1824" y="802"/>
                  <a:pt x="1800" y="951"/>
                  <a:pt x="1850" y="1074"/>
                </a:cubicBezTo>
                <a:lnTo>
                  <a:pt x="1850" y="1074"/>
                </a:lnTo>
                <a:cubicBezTo>
                  <a:pt x="1854" y="1083"/>
                  <a:pt x="1858" y="1092"/>
                  <a:pt x="1860" y="1103"/>
                </a:cubicBezTo>
                <a:lnTo>
                  <a:pt x="1860" y="1103"/>
                </a:lnTo>
                <a:cubicBezTo>
                  <a:pt x="1860" y="1106"/>
                  <a:pt x="1860" y="1111"/>
                  <a:pt x="1860" y="1115"/>
                </a:cubicBezTo>
                <a:lnTo>
                  <a:pt x="1860" y="1115"/>
                </a:lnTo>
                <a:cubicBezTo>
                  <a:pt x="1860" y="1116"/>
                  <a:pt x="1859" y="1118"/>
                  <a:pt x="1859" y="1120"/>
                </a:cubicBezTo>
                <a:lnTo>
                  <a:pt x="1859" y="1120"/>
                </a:lnTo>
                <a:cubicBezTo>
                  <a:pt x="1858" y="1127"/>
                  <a:pt x="1856" y="1134"/>
                  <a:pt x="1854" y="1141"/>
                </a:cubicBezTo>
                <a:lnTo>
                  <a:pt x="1854" y="1141"/>
                </a:lnTo>
                <a:cubicBezTo>
                  <a:pt x="1853" y="1145"/>
                  <a:pt x="1851" y="1160"/>
                  <a:pt x="1848" y="1180"/>
                </a:cubicBezTo>
                <a:lnTo>
                  <a:pt x="1848" y="1180"/>
                </a:lnTo>
                <a:cubicBezTo>
                  <a:pt x="1822" y="1164"/>
                  <a:pt x="1782" y="1153"/>
                  <a:pt x="1736" y="1185"/>
                </a:cubicBezTo>
                <a:lnTo>
                  <a:pt x="1736" y="1185"/>
                </a:lnTo>
                <a:cubicBezTo>
                  <a:pt x="1695" y="1215"/>
                  <a:pt x="1682" y="1290"/>
                  <a:pt x="1691" y="1369"/>
                </a:cubicBezTo>
                <a:lnTo>
                  <a:pt x="1691" y="1369"/>
                </a:lnTo>
                <a:lnTo>
                  <a:pt x="1691" y="1369"/>
                </a:lnTo>
                <a:cubicBezTo>
                  <a:pt x="1691" y="1376"/>
                  <a:pt x="1692" y="1382"/>
                  <a:pt x="1693" y="1388"/>
                </a:cubicBezTo>
                <a:lnTo>
                  <a:pt x="1693" y="1388"/>
                </a:lnTo>
                <a:cubicBezTo>
                  <a:pt x="1693" y="1390"/>
                  <a:pt x="1693" y="1391"/>
                  <a:pt x="1694" y="1392"/>
                </a:cubicBezTo>
                <a:lnTo>
                  <a:pt x="1694" y="1392"/>
                </a:lnTo>
                <a:cubicBezTo>
                  <a:pt x="1695" y="1398"/>
                  <a:pt x="1696" y="1403"/>
                  <a:pt x="1696" y="1408"/>
                </a:cubicBezTo>
                <a:lnTo>
                  <a:pt x="1696" y="1408"/>
                </a:lnTo>
                <a:cubicBezTo>
                  <a:pt x="1697" y="1409"/>
                  <a:pt x="1697" y="1411"/>
                  <a:pt x="1698" y="1412"/>
                </a:cubicBezTo>
                <a:lnTo>
                  <a:pt x="1698" y="1412"/>
                </a:lnTo>
                <a:cubicBezTo>
                  <a:pt x="1698" y="1417"/>
                  <a:pt x="1700" y="1422"/>
                  <a:pt x="1701" y="1427"/>
                </a:cubicBezTo>
                <a:lnTo>
                  <a:pt x="1701" y="1427"/>
                </a:lnTo>
                <a:cubicBezTo>
                  <a:pt x="1701" y="1428"/>
                  <a:pt x="1701" y="1430"/>
                  <a:pt x="1702" y="1432"/>
                </a:cubicBezTo>
                <a:lnTo>
                  <a:pt x="1702" y="1432"/>
                </a:lnTo>
                <a:cubicBezTo>
                  <a:pt x="1702" y="1434"/>
                  <a:pt x="1703" y="1437"/>
                  <a:pt x="1704" y="1440"/>
                </a:cubicBezTo>
                <a:lnTo>
                  <a:pt x="1704" y="1440"/>
                </a:lnTo>
                <a:cubicBezTo>
                  <a:pt x="1705" y="1442"/>
                  <a:pt x="1705" y="1444"/>
                  <a:pt x="1706" y="1447"/>
                </a:cubicBezTo>
                <a:lnTo>
                  <a:pt x="1706" y="1447"/>
                </a:lnTo>
                <a:cubicBezTo>
                  <a:pt x="1707" y="1450"/>
                  <a:pt x="1708" y="1453"/>
                  <a:pt x="1710" y="1458"/>
                </a:cubicBezTo>
                <a:lnTo>
                  <a:pt x="1710" y="1458"/>
                </a:lnTo>
                <a:cubicBezTo>
                  <a:pt x="1710" y="1460"/>
                  <a:pt x="1711" y="1462"/>
                  <a:pt x="1712" y="1465"/>
                </a:cubicBezTo>
                <a:lnTo>
                  <a:pt x="1712" y="1465"/>
                </a:lnTo>
                <a:cubicBezTo>
                  <a:pt x="1712" y="1467"/>
                  <a:pt x="1713" y="1469"/>
                  <a:pt x="1714" y="1472"/>
                </a:cubicBezTo>
                <a:lnTo>
                  <a:pt x="1714" y="1472"/>
                </a:lnTo>
                <a:cubicBezTo>
                  <a:pt x="1715" y="1475"/>
                  <a:pt x="1717" y="1479"/>
                  <a:pt x="1718" y="1482"/>
                </a:cubicBezTo>
                <a:lnTo>
                  <a:pt x="1718" y="1482"/>
                </a:lnTo>
                <a:cubicBezTo>
                  <a:pt x="1719" y="1484"/>
                  <a:pt x="1720" y="1486"/>
                  <a:pt x="1721" y="1488"/>
                </a:cubicBezTo>
                <a:lnTo>
                  <a:pt x="1721" y="1488"/>
                </a:lnTo>
                <a:cubicBezTo>
                  <a:pt x="1722" y="1492"/>
                  <a:pt x="1723" y="1495"/>
                  <a:pt x="1725" y="1499"/>
                </a:cubicBezTo>
                <a:lnTo>
                  <a:pt x="1725" y="1499"/>
                </a:lnTo>
                <a:cubicBezTo>
                  <a:pt x="1726" y="1500"/>
                  <a:pt x="1727" y="1502"/>
                  <a:pt x="1728" y="1503"/>
                </a:cubicBezTo>
                <a:lnTo>
                  <a:pt x="1728" y="1503"/>
                </a:lnTo>
                <a:cubicBezTo>
                  <a:pt x="1729" y="1506"/>
                  <a:pt x="1731" y="1509"/>
                  <a:pt x="1732" y="1512"/>
                </a:cubicBezTo>
                <a:lnTo>
                  <a:pt x="1732" y="1512"/>
                </a:lnTo>
                <a:cubicBezTo>
                  <a:pt x="1733" y="1514"/>
                  <a:pt x="1733" y="1515"/>
                  <a:pt x="1734" y="1516"/>
                </a:cubicBezTo>
                <a:lnTo>
                  <a:pt x="1734" y="1516"/>
                </a:lnTo>
                <a:cubicBezTo>
                  <a:pt x="1736" y="1520"/>
                  <a:pt x="1738" y="1523"/>
                  <a:pt x="1740" y="1527"/>
                </a:cubicBezTo>
                <a:lnTo>
                  <a:pt x="1740" y="1527"/>
                </a:lnTo>
                <a:cubicBezTo>
                  <a:pt x="1741" y="1528"/>
                  <a:pt x="1742" y="1529"/>
                  <a:pt x="1742" y="1530"/>
                </a:cubicBezTo>
                <a:lnTo>
                  <a:pt x="1742" y="1530"/>
                </a:lnTo>
                <a:cubicBezTo>
                  <a:pt x="1745" y="1533"/>
                  <a:pt x="1747" y="1537"/>
                  <a:pt x="1749" y="1540"/>
                </a:cubicBezTo>
                <a:lnTo>
                  <a:pt x="1749" y="1540"/>
                </a:lnTo>
                <a:cubicBezTo>
                  <a:pt x="1750" y="1541"/>
                  <a:pt x="1751" y="1542"/>
                  <a:pt x="1751" y="1543"/>
                </a:cubicBezTo>
                <a:lnTo>
                  <a:pt x="1751" y="1543"/>
                </a:lnTo>
                <a:cubicBezTo>
                  <a:pt x="1753" y="1546"/>
                  <a:pt x="1756" y="1549"/>
                  <a:pt x="1759" y="1553"/>
                </a:cubicBezTo>
                <a:lnTo>
                  <a:pt x="1759" y="1553"/>
                </a:lnTo>
                <a:cubicBezTo>
                  <a:pt x="1759" y="1553"/>
                  <a:pt x="1759" y="1553"/>
                  <a:pt x="1760" y="1553"/>
                </a:cubicBezTo>
                <a:lnTo>
                  <a:pt x="1760" y="1553"/>
                </a:lnTo>
                <a:cubicBezTo>
                  <a:pt x="1762" y="1556"/>
                  <a:pt x="1765" y="1559"/>
                  <a:pt x="1767" y="1562"/>
                </a:cubicBezTo>
                <a:lnTo>
                  <a:pt x="1767" y="1562"/>
                </a:lnTo>
                <a:cubicBezTo>
                  <a:pt x="1768" y="1562"/>
                  <a:pt x="1769" y="1563"/>
                  <a:pt x="1769" y="1563"/>
                </a:cubicBezTo>
                <a:lnTo>
                  <a:pt x="1769" y="1563"/>
                </a:lnTo>
                <a:cubicBezTo>
                  <a:pt x="1772" y="1566"/>
                  <a:pt x="1775" y="1569"/>
                  <a:pt x="1778" y="1571"/>
                </a:cubicBezTo>
                <a:lnTo>
                  <a:pt x="1778" y="1571"/>
                </a:lnTo>
                <a:cubicBezTo>
                  <a:pt x="1779" y="1572"/>
                  <a:pt x="1779" y="1572"/>
                  <a:pt x="1780" y="1573"/>
                </a:cubicBezTo>
                <a:lnTo>
                  <a:pt x="1780" y="1573"/>
                </a:lnTo>
                <a:cubicBezTo>
                  <a:pt x="1783" y="1575"/>
                  <a:pt x="1786" y="1577"/>
                  <a:pt x="1789" y="1579"/>
                </a:cubicBezTo>
                <a:lnTo>
                  <a:pt x="1789" y="1579"/>
                </a:lnTo>
                <a:cubicBezTo>
                  <a:pt x="1790" y="1579"/>
                  <a:pt x="1791" y="1579"/>
                  <a:pt x="1791" y="1580"/>
                </a:cubicBezTo>
                <a:lnTo>
                  <a:pt x="1791" y="1580"/>
                </a:lnTo>
                <a:cubicBezTo>
                  <a:pt x="1794" y="1582"/>
                  <a:pt x="1797" y="1583"/>
                  <a:pt x="1800" y="1584"/>
                </a:cubicBezTo>
                <a:lnTo>
                  <a:pt x="1800" y="1584"/>
                </a:lnTo>
                <a:cubicBezTo>
                  <a:pt x="1801" y="1584"/>
                  <a:pt x="1801" y="1584"/>
                  <a:pt x="1801" y="1585"/>
                </a:cubicBezTo>
                <a:lnTo>
                  <a:pt x="1801" y="1585"/>
                </a:lnTo>
                <a:cubicBezTo>
                  <a:pt x="1805" y="1586"/>
                  <a:pt x="1808" y="1588"/>
                  <a:pt x="1812" y="1589"/>
                </a:cubicBezTo>
                <a:lnTo>
                  <a:pt x="1812" y="1589"/>
                </a:lnTo>
                <a:lnTo>
                  <a:pt x="1813" y="1589"/>
                </a:lnTo>
                <a:lnTo>
                  <a:pt x="1813" y="1589"/>
                </a:lnTo>
                <a:cubicBezTo>
                  <a:pt x="1817" y="1590"/>
                  <a:pt x="1820" y="1590"/>
                  <a:pt x="1824" y="1591"/>
                </a:cubicBezTo>
                <a:lnTo>
                  <a:pt x="1824" y="1591"/>
                </a:lnTo>
                <a:cubicBezTo>
                  <a:pt x="1824" y="1591"/>
                  <a:pt x="1825" y="1591"/>
                  <a:pt x="1826" y="1591"/>
                </a:cubicBezTo>
                <a:lnTo>
                  <a:pt x="1826" y="1591"/>
                </a:lnTo>
                <a:cubicBezTo>
                  <a:pt x="1830" y="1591"/>
                  <a:pt x="1833" y="1592"/>
                  <a:pt x="1837" y="1591"/>
                </a:cubicBezTo>
                <a:lnTo>
                  <a:pt x="1837" y="1591"/>
                </a:lnTo>
                <a:cubicBezTo>
                  <a:pt x="1843" y="1674"/>
                  <a:pt x="1867" y="1774"/>
                  <a:pt x="1926" y="1865"/>
                </a:cubicBezTo>
                <a:lnTo>
                  <a:pt x="1926" y="1865"/>
                </a:lnTo>
                <a:cubicBezTo>
                  <a:pt x="1928" y="1869"/>
                  <a:pt x="1931" y="1873"/>
                  <a:pt x="1934" y="1877"/>
                </a:cubicBezTo>
                <a:lnTo>
                  <a:pt x="1934" y="1877"/>
                </a:lnTo>
                <a:cubicBezTo>
                  <a:pt x="1936" y="1879"/>
                  <a:pt x="1937" y="1881"/>
                  <a:pt x="1938" y="1883"/>
                </a:cubicBezTo>
                <a:lnTo>
                  <a:pt x="1938" y="1883"/>
                </a:lnTo>
                <a:cubicBezTo>
                  <a:pt x="1941" y="1888"/>
                  <a:pt x="1946" y="1894"/>
                  <a:pt x="1950" y="1898"/>
                </a:cubicBezTo>
                <a:lnTo>
                  <a:pt x="1950" y="1898"/>
                </a:lnTo>
                <a:cubicBezTo>
                  <a:pt x="1951" y="1901"/>
                  <a:pt x="1953" y="1902"/>
                  <a:pt x="1954" y="1904"/>
                </a:cubicBezTo>
                <a:lnTo>
                  <a:pt x="1954" y="1904"/>
                </a:lnTo>
                <a:cubicBezTo>
                  <a:pt x="1958" y="1909"/>
                  <a:pt x="1963" y="1915"/>
                  <a:pt x="1967" y="1919"/>
                </a:cubicBezTo>
                <a:lnTo>
                  <a:pt x="1967" y="1919"/>
                </a:lnTo>
                <a:cubicBezTo>
                  <a:pt x="1968" y="1921"/>
                  <a:pt x="1969" y="1923"/>
                  <a:pt x="1971" y="1924"/>
                </a:cubicBezTo>
                <a:lnTo>
                  <a:pt x="1971" y="1924"/>
                </a:lnTo>
                <a:cubicBezTo>
                  <a:pt x="1975" y="1929"/>
                  <a:pt x="1978" y="1933"/>
                  <a:pt x="1983" y="1937"/>
                </a:cubicBezTo>
                <a:lnTo>
                  <a:pt x="1983" y="1937"/>
                </a:lnTo>
                <a:cubicBezTo>
                  <a:pt x="1984" y="1939"/>
                  <a:pt x="1985" y="1940"/>
                  <a:pt x="1987" y="1942"/>
                </a:cubicBezTo>
                <a:lnTo>
                  <a:pt x="1987" y="1942"/>
                </a:lnTo>
                <a:cubicBezTo>
                  <a:pt x="1991" y="1946"/>
                  <a:pt x="1997" y="1951"/>
                  <a:pt x="2002" y="1956"/>
                </a:cubicBezTo>
                <a:lnTo>
                  <a:pt x="2002" y="1956"/>
                </a:lnTo>
                <a:cubicBezTo>
                  <a:pt x="2004" y="1958"/>
                  <a:pt x="2005" y="1959"/>
                  <a:pt x="2007" y="1961"/>
                </a:cubicBezTo>
                <a:lnTo>
                  <a:pt x="2007" y="1961"/>
                </a:lnTo>
                <a:cubicBezTo>
                  <a:pt x="2013" y="1966"/>
                  <a:pt x="2018" y="1971"/>
                  <a:pt x="2023" y="1976"/>
                </a:cubicBezTo>
                <a:lnTo>
                  <a:pt x="2023" y="1976"/>
                </a:lnTo>
                <a:cubicBezTo>
                  <a:pt x="2025" y="1977"/>
                  <a:pt x="2027" y="1978"/>
                  <a:pt x="2028" y="1979"/>
                </a:cubicBezTo>
                <a:lnTo>
                  <a:pt x="2028" y="1979"/>
                </a:lnTo>
                <a:cubicBezTo>
                  <a:pt x="2033" y="1983"/>
                  <a:pt x="2038" y="1987"/>
                  <a:pt x="2044" y="1992"/>
                </a:cubicBezTo>
                <a:lnTo>
                  <a:pt x="2044" y="1992"/>
                </a:lnTo>
                <a:cubicBezTo>
                  <a:pt x="2045" y="1993"/>
                  <a:pt x="2047" y="1994"/>
                  <a:pt x="2048" y="1995"/>
                </a:cubicBezTo>
                <a:lnTo>
                  <a:pt x="2048" y="1995"/>
                </a:lnTo>
                <a:cubicBezTo>
                  <a:pt x="2054" y="1999"/>
                  <a:pt x="2061" y="2004"/>
                  <a:pt x="2067" y="2008"/>
                </a:cubicBezTo>
                <a:lnTo>
                  <a:pt x="2067" y="2008"/>
                </a:lnTo>
                <a:cubicBezTo>
                  <a:pt x="2069" y="2010"/>
                  <a:pt x="2071" y="2011"/>
                  <a:pt x="2072" y="2012"/>
                </a:cubicBezTo>
                <a:lnTo>
                  <a:pt x="2072" y="2012"/>
                </a:lnTo>
                <a:cubicBezTo>
                  <a:pt x="2079" y="2017"/>
                  <a:pt x="2086" y="2021"/>
                  <a:pt x="2094" y="2025"/>
                </a:cubicBezTo>
                <a:lnTo>
                  <a:pt x="2094" y="2025"/>
                </a:lnTo>
                <a:cubicBezTo>
                  <a:pt x="2095" y="2026"/>
                  <a:pt x="2096" y="2027"/>
                  <a:pt x="2098" y="2028"/>
                </a:cubicBezTo>
                <a:lnTo>
                  <a:pt x="2098" y="2028"/>
                </a:lnTo>
                <a:cubicBezTo>
                  <a:pt x="2105" y="2032"/>
                  <a:pt x="2112" y="2036"/>
                  <a:pt x="2119" y="2040"/>
                </a:cubicBezTo>
                <a:lnTo>
                  <a:pt x="2119" y="2040"/>
                </a:lnTo>
                <a:cubicBezTo>
                  <a:pt x="2120" y="2040"/>
                  <a:pt x="2121" y="2041"/>
                  <a:pt x="2122" y="2041"/>
                </a:cubicBezTo>
                <a:lnTo>
                  <a:pt x="2122" y="2041"/>
                </a:lnTo>
                <a:cubicBezTo>
                  <a:pt x="2130" y="2046"/>
                  <a:pt x="2138" y="2049"/>
                  <a:pt x="2146" y="2053"/>
                </a:cubicBezTo>
                <a:lnTo>
                  <a:pt x="2146" y="2053"/>
                </a:lnTo>
                <a:cubicBezTo>
                  <a:pt x="2149" y="2054"/>
                  <a:pt x="2150" y="2055"/>
                  <a:pt x="2152" y="2056"/>
                </a:cubicBezTo>
                <a:lnTo>
                  <a:pt x="2152" y="2056"/>
                </a:lnTo>
                <a:cubicBezTo>
                  <a:pt x="2160" y="2060"/>
                  <a:pt x="2169" y="2063"/>
                  <a:pt x="2178" y="2067"/>
                </a:cubicBezTo>
                <a:lnTo>
                  <a:pt x="2178" y="2067"/>
                </a:lnTo>
                <a:cubicBezTo>
                  <a:pt x="2180" y="2067"/>
                  <a:pt x="2181" y="2068"/>
                  <a:pt x="2183" y="2068"/>
                </a:cubicBezTo>
                <a:lnTo>
                  <a:pt x="2183" y="2068"/>
                </a:lnTo>
                <a:cubicBezTo>
                  <a:pt x="2191" y="2072"/>
                  <a:pt x="2200" y="2076"/>
                  <a:pt x="2209" y="2078"/>
                </a:cubicBezTo>
                <a:lnTo>
                  <a:pt x="2209" y="2078"/>
                </a:lnTo>
                <a:cubicBezTo>
                  <a:pt x="2210" y="2078"/>
                  <a:pt x="2211" y="2079"/>
                  <a:pt x="2212" y="2079"/>
                </a:cubicBezTo>
                <a:lnTo>
                  <a:pt x="2212" y="2079"/>
                </a:lnTo>
                <a:cubicBezTo>
                  <a:pt x="2221" y="2083"/>
                  <a:pt x="2231" y="2086"/>
                  <a:pt x="2241" y="2088"/>
                </a:cubicBezTo>
                <a:lnTo>
                  <a:pt x="2241" y="2088"/>
                </a:lnTo>
                <a:cubicBezTo>
                  <a:pt x="2243" y="2089"/>
                  <a:pt x="2246" y="2090"/>
                  <a:pt x="2248" y="2090"/>
                </a:cubicBezTo>
                <a:lnTo>
                  <a:pt x="2248" y="2090"/>
                </a:lnTo>
                <a:cubicBezTo>
                  <a:pt x="2257" y="2093"/>
                  <a:pt x="2268" y="2096"/>
                  <a:pt x="2278" y="2098"/>
                </a:cubicBezTo>
                <a:lnTo>
                  <a:pt x="2278" y="2098"/>
                </a:lnTo>
                <a:cubicBezTo>
                  <a:pt x="2280" y="2099"/>
                  <a:pt x="2282" y="2099"/>
                  <a:pt x="2284" y="2100"/>
                </a:cubicBezTo>
                <a:lnTo>
                  <a:pt x="2284" y="2100"/>
                </a:lnTo>
                <a:cubicBezTo>
                  <a:pt x="2295" y="2102"/>
                  <a:pt x="2306" y="2104"/>
                  <a:pt x="2317" y="2107"/>
                </a:cubicBezTo>
                <a:lnTo>
                  <a:pt x="2317" y="2107"/>
                </a:lnTo>
                <a:cubicBezTo>
                  <a:pt x="2317" y="2107"/>
                  <a:pt x="2317" y="2107"/>
                  <a:pt x="2318" y="2107"/>
                </a:cubicBezTo>
                <a:lnTo>
                  <a:pt x="2318" y="2107"/>
                </a:lnTo>
                <a:cubicBezTo>
                  <a:pt x="2330" y="2109"/>
                  <a:pt x="2341" y="2111"/>
                  <a:pt x="2353" y="2113"/>
                </a:cubicBezTo>
                <a:lnTo>
                  <a:pt x="2353" y="2113"/>
                </a:lnTo>
                <a:cubicBezTo>
                  <a:pt x="2355" y="2113"/>
                  <a:pt x="2357" y="2114"/>
                  <a:pt x="2360" y="2114"/>
                </a:cubicBezTo>
                <a:lnTo>
                  <a:pt x="2360" y="2114"/>
                </a:lnTo>
                <a:cubicBezTo>
                  <a:pt x="2371" y="2116"/>
                  <a:pt x="2383" y="2117"/>
                  <a:pt x="2395" y="2118"/>
                </a:cubicBezTo>
                <a:lnTo>
                  <a:pt x="2395" y="2118"/>
                </a:lnTo>
                <a:cubicBezTo>
                  <a:pt x="2398" y="2118"/>
                  <a:pt x="2400" y="2119"/>
                  <a:pt x="2402" y="2119"/>
                </a:cubicBezTo>
                <a:lnTo>
                  <a:pt x="2402" y="2119"/>
                </a:lnTo>
                <a:cubicBezTo>
                  <a:pt x="2415" y="2120"/>
                  <a:pt x="2428" y="2121"/>
                  <a:pt x="2441" y="2122"/>
                </a:cubicBezTo>
                <a:lnTo>
                  <a:pt x="2441" y="2122"/>
                </a:lnTo>
                <a:cubicBezTo>
                  <a:pt x="2453" y="2123"/>
                  <a:pt x="2465" y="2124"/>
                  <a:pt x="2478" y="2124"/>
                </a:cubicBezTo>
                <a:lnTo>
                  <a:pt x="2476" y="2202"/>
                </a:lnTo>
                <a:lnTo>
                  <a:pt x="2476" y="2202"/>
                </a:lnTo>
                <a:cubicBezTo>
                  <a:pt x="2475" y="2185"/>
                  <a:pt x="2475" y="2167"/>
                  <a:pt x="2476" y="2148"/>
                </a:cubicBezTo>
                <a:lnTo>
                  <a:pt x="2476" y="2148"/>
                </a:lnTo>
                <a:cubicBezTo>
                  <a:pt x="2455" y="2174"/>
                  <a:pt x="2434" y="2202"/>
                  <a:pt x="2415" y="2232"/>
                </a:cubicBezTo>
                <a:lnTo>
                  <a:pt x="2415" y="2232"/>
                </a:lnTo>
                <a:cubicBezTo>
                  <a:pt x="2439" y="2189"/>
                  <a:pt x="2455" y="2164"/>
                  <a:pt x="2460" y="2158"/>
                </a:cubicBezTo>
                <a:lnTo>
                  <a:pt x="2460" y="2158"/>
                </a:lnTo>
                <a:cubicBezTo>
                  <a:pt x="2449" y="2168"/>
                  <a:pt x="2363" y="2171"/>
                  <a:pt x="2276" y="2253"/>
                </a:cubicBezTo>
                <a:lnTo>
                  <a:pt x="2276" y="2253"/>
                </a:lnTo>
                <a:cubicBezTo>
                  <a:pt x="2128" y="2265"/>
                  <a:pt x="1857" y="2299"/>
                  <a:pt x="1798" y="2386"/>
                </a:cubicBezTo>
                <a:lnTo>
                  <a:pt x="1798" y="2386"/>
                </a:lnTo>
                <a:cubicBezTo>
                  <a:pt x="1781" y="2412"/>
                  <a:pt x="1775" y="2445"/>
                  <a:pt x="1775" y="2480"/>
                </a:cubicBezTo>
                <a:lnTo>
                  <a:pt x="1775" y="2480"/>
                </a:lnTo>
                <a:lnTo>
                  <a:pt x="1775" y="2481"/>
                </a:lnTo>
                <a:lnTo>
                  <a:pt x="1775" y="2481"/>
                </a:lnTo>
                <a:cubicBezTo>
                  <a:pt x="1772" y="2487"/>
                  <a:pt x="1769" y="2493"/>
                  <a:pt x="1766" y="2498"/>
                </a:cubicBezTo>
                <a:lnTo>
                  <a:pt x="1766" y="2498"/>
                </a:lnTo>
                <a:cubicBezTo>
                  <a:pt x="1766" y="2500"/>
                  <a:pt x="1765" y="2503"/>
                  <a:pt x="1764" y="2505"/>
                </a:cubicBezTo>
                <a:lnTo>
                  <a:pt x="1764" y="2505"/>
                </a:lnTo>
                <a:cubicBezTo>
                  <a:pt x="1763" y="2505"/>
                  <a:pt x="1763" y="2507"/>
                  <a:pt x="1763" y="2508"/>
                </a:cubicBezTo>
                <a:lnTo>
                  <a:pt x="1763" y="2508"/>
                </a:lnTo>
                <a:cubicBezTo>
                  <a:pt x="1762" y="2509"/>
                  <a:pt x="1762" y="2511"/>
                  <a:pt x="1761" y="2513"/>
                </a:cubicBezTo>
                <a:lnTo>
                  <a:pt x="1761" y="2513"/>
                </a:lnTo>
                <a:cubicBezTo>
                  <a:pt x="1761" y="2514"/>
                  <a:pt x="1761" y="2515"/>
                  <a:pt x="1760" y="2516"/>
                </a:cubicBezTo>
                <a:lnTo>
                  <a:pt x="1760" y="2516"/>
                </a:lnTo>
                <a:cubicBezTo>
                  <a:pt x="1759" y="2518"/>
                  <a:pt x="1759" y="2519"/>
                  <a:pt x="1758" y="2521"/>
                </a:cubicBezTo>
                <a:lnTo>
                  <a:pt x="1758" y="2521"/>
                </a:lnTo>
                <a:cubicBezTo>
                  <a:pt x="1758" y="2523"/>
                  <a:pt x="1758" y="2524"/>
                  <a:pt x="1757" y="2525"/>
                </a:cubicBezTo>
                <a:lnTo>
                  <a:pt x="1757" y="2525"/>
                </a:lnTo>
                <a:cubicBezTo>
                  <a:pt x="1756" y="2527"/>
                  <a:pt x="1756" y="2528"/>
                  <a:pt x="1755" y="2531"/>
                </a:cubicBezTo>
                <a:lnTo>
                  <a:pt x="1755" y="2531"/>
                </a:lnTo>
                <a:cubicBezTo>
                  <a:pt x="1755" y="2532"/>
                  <a:pt x="1754" y="2533"/>
                  <a:pt x="1753" y="2535"/>
                </a:cubicBezTo>
                <a:lnTo>
                  <a:pt x="1753" y="2535"/>
                </a:lnTo>
                <a:cubicBezTo>
                  <a:pt x="1753" y="2536"/>
                  <a:pt x="1752" y="2539"/>
                  <a:pt x="1752" y="2541"/>
                </a:cubicBezTo>
                <a:lnTo>
                  <a:pt x="1752" y="2541"/>
                </a:lnTo>
                <a:cubicBezTo>
                  <a:pt x="1752" y="2542"/>
                  <a:pt x="1751" y="2544"/>
                  <a:pt x="1751" y="2545"/>
                </a:cubicBezTo>
                <a:lnTo>
                  <a:pt x="1751" y="2545"/>
                </a:lnTo>
                <a:cubicBezTo>
                  <a:pt x="1750" y="2548"/>
                  <a:pt x="1749" y="2550"/>
                  <a:pt x="1749" y="2552"/>
                </a:cubicBezTo>
                <a:lnTo>
                  <a:pt x="1749" y="2552"/>
                </a:lnTo>
                <a:cubicBezTo>
                  <a:pt x="1748" y="2554"/>
                  <a:pt x="1748" y="2555"/>
                  <a:pt x="1747" y="2557"/>
                </a:cubicBezTo>
                <a:lnTo>
                  <a:pt x="1747" y="2557"/>
                </a:lnTo>
                <a:cubicBezTo>
                  <a:pt x="1746" y="2560"/>
                  <a:pt x="1746" y="2562"/>
                  <a:pt x="1745" y="2564"/>
                </a:cubicBezTo>
                <a:lnTo>
                  <a:pt x="1745" y="2564"/>
                </a:lnTo>
                <a:cubicBezTo>
                  <a:pt x="1745" y="2566"/>
                  <a:pt x="1744" y="2568"/>
                  <a:pt x="1744" y="2570"/>
                </a:cubicBezTo>
                <a:lnTo>
                  <a:pt x="1744" y="2570"/>
                </a:lnTo>
                <a:cubicBezTo>
                  <a:pt x="1743" y="2572"/>
                  <a:pt x="1742" y="2575"/>
                  <a:pt x="1742" y="2578"/>
                </a:cubicBezTo>
                <a:lnTo>
                  <a:pt x="1742" y="2578"/>
                </a:lnTo>
                <a:cubicBezTo>
                  <a:pt x="1741" y="2579"/>
                  <a:pt x="1741" y="2581"/>
                  <a:pt x="1741" y="2582"/>
                </a:cubicBezTo>
                <a:lnTo>
                  <a:pt x="1741" y="2582"/>
                </a:lnTo>
                <a:cubicBezTo>
                  <a:pt x="1739" y="2585"/>
                  <a:pt x="1739" y="2588"/>
                  <a:pt x="1738" y="2591"/>
                </a:cubicBezTo>
                <a:lnTo>
                  <a:pt x="1738" y="2591"/>
                </a:lnTo>
                <a:cubicBezTo>
                  <a:pt x="1738" y="2593"/>
                  <a:pt x="1737" y="2595"/>
                  <a:pt x="1736" y="2596"/>
                </a:cubicBezTo>
                <a:lnTo>
                  <a:pt x="1736" y="2596"/>
                </a:lnTo>
                <a:cubicBezTo>
                  <a:pt x="1736" y="2599"/>
                  <a:pt x="1735" y="2602"/>
                  <a:pt x="1734" y="2606"/>
                </a:cubicBezTo>
                <a:lnTo>
                  <a:pt x="1734" y="2606"/>
                </a:lnTo>
                <a:cubicBezTo>
                  <a:pt x="1734" y="2608"/>
                  <a:pt x="1733" y="2609"/>
                  <a:pt x="1733" y="2611"/>
                </a:cubicBezTo>
                <a:lnTo>
                  <a:pt x="1733" y="2611"/>
                </a:lnTo>
                <a:cubicBezTo>
                  <a:pt x="1732" y="2614"/>
                  <a:pt x="1731" y="2618"/>
                  <a:pt x="1731" y="2621"/>
                </a:cubicBezTo>
                <a:lnTo>
                  <a:pt x="1731" y="2621"/>
                </a:lnTo>
                <a:cubicBezTo>
                  <a:pt x="1730" y="2623"/>
                  <a:pt x="1729" y="2625"/>
                  <a:pt x="1729" y="2626"/>
                </a:cubicBezTo>
                <a:lnTo>
                  <a:pt x="1729" y="2626"/>
                </a:lnTo>
                <a:cubicBezTo>
                  <a:pt x="1728" y="2630"/>
                  <a:pt x="1728" y="2634"/>
                  <a:pt x="1726" y="2637"/>
                </a:cubicBezTo>
                <a:lnTo>
                  <a:pt x="1726" y="2637"/>
                </a:lnTo>
                <a:cubicBezTo>
                  <a:pt x="1726" y="2639"/>
                  <a:pt x="1726" y="2641"/>
                  <a:pt x="1725" y="2642"/>
                </a:cubicBezTo>
                <a:lnTo>
                  <a:pt x="1725" y="2642"/>
                </a:lnTo>
                <a:cubicBezTo>
                  <a:pt x="1724" y="2646"/>
                  <a:pt x="1723" y="2650"/>
                  <a:pt x="1722" y="2654"/>
                </a:cubicBezTo>
                <a:lnTo>
                  <a:pt x="1722" y="2654"/>
                </a:lnTo>
                <a:cubicBezTo>
                  <a:pt x="1722" y="2655"/>
                  <a:pt x="1722" y="2657"/>
                  <a:pt x="1721" y="2659"/>
                </a:cubicBezTo>
                <a:lnTo>
                  <a:pt x="1721" y="2659"/>
                </a:lnTo>
                <a:cubicBezTo>
                  <a:pt x="1721" y="2663"/>
                  <a:pt x="1719" y="2667"/>
                  <a:pt x="1718" y="2671"/>
                </a:cubicBezTo>
                <a:lnTo>
                  <a:pt x="1718" y="2671"/>
                </a:lnTo>
                <a:cubicBezTo>
                  <a:pt x="1718" y="2673"/>
                  <a:pt x="1718" y="2675"/>
                  <a:pt x="1717" y="2676"/>
                </a:cubicBezTo>
                <a:lnTo>
                  <a:pt x="1717" y="2676"/>
                </a:lnTo>
                <a:cubicBezTo>
                  <a:pt x="1716" y="2681"/>
                  <a:pt x="1715" y="2685"/>
                  <a:pt x="1714" y="2689"/>
                </a:cubicBezTo>
                <a:lnTo>
                  <a:pt x="1714" y="2689"/>
                </a:lnTo>
                <a:cubicBezTo>
                  <a:pt x="1714" y="2690"/>
                  <a:pt x="1713" y="2692"/>
                  <a:pt x="1713" y="2693"/>
                </a:cubicBezTo>
                <a:lnTo>
                  <a:pt x="1713" y="2693"/>
                </a:lnTo>
                <a:cubicBezTo>
                  <a:pt x="1712" y="2698"/>
                  <a:pt x="1711" y="2703"/>
                  <a:pt x="1710" y="2708"/>
                </a:cubicBezTo>
                <a:lnTo>
                  <a:pt x="1710" y="2708"/>
                </a:lnTo>
                <a:cubicBezTo>
                  <a:pt x="1710" y="2709"/>
                  <a:pt x="1710" y="2710"/>
                  <a:pt x="1709" y="2712"/>
                </a:cubicBezTo>
                <a:lnTo>
                  <a:pt x="1709" y="2712"/>
                </a:lnTo>
                <a:cubicBezTo>
                  <a:pt x="1708" y="2717"/>
                  <a:pt x="1707" y="2722"/>
                  <a:pt x="1706" y="2727"/>
                </a:cubicBezTo>
                <a:lnTo>
                  <a:pt x="1705" y="2731"/>
                </a:lnTo>
                <a:lnTo>
                  <a:pt x="1705" y="2731"/>
                </a:lnTo>
                <a:cubicBezTo>
                  <a:pt x="1703" y="2736"/>
                  <a:pt x="1702" y="2742"/>
                  <a:pt x="1701" y="2747"/>
                </a:cubicBezTo>
                <a:lnTo>
                  <a:pt x="1701" y="2747"/>
                </a:lnTo>
                <a:cubicBezTo>
                  <a:pt x="1701" y="2748"/>
                  <a:pt x="1701" y="2749"/>
                  <a:pt x="1701" y="2750"/>
                </a:cubicBezTo>
                <a:lnTo>
                  <a:pt x="1701" y="2750"/>
                </a:lnTo>
                <a:cubicBezTo>
                  <a:pt x="1700" y="2756"/>
                  <a:pt x="1698" y="2762"/>
                  <a:pt x="1697" y="2767"/>
                </a:cubicBezTo>
                <a:lnTo>
                  <a:pt x="1697" y="2767"/>
                </a:lnTo>
                <a:cubicBezTo>
                  <a:pt x="1696" y="2768"/>
                  <a:pt x="1696" y="2768"/>
                  <a:pt x="1696" y="2770"/>
                </a:cubicBezTo>
                <a:lnTo>
                  <a:pt x="1696" y="2770"/>
                </a:lnTo>
                <a:cubicBezTo>
                  <a:pt x="1695" y="2776"/>
                  <a:pt x="1693" y="2782"/>
                  <a:pt x="1692" y="2788"/>
                </a:cubicBezTo>
                <a:lnTo>
                  <a:pt x="1692" y="2788"/>
                </a:lnTo>
                <a:cubicBezTo>
                  <a:pt x="1692" y="2788"/>
                  <a:pt x="1692" y="2789"/>
                  <a:pt x="1692" y="2790"/>
                </a:cubicBezTo>
                <a:lnTo>
                  <a:pt x="1692" y="2790"/>
                </a:lnTo>
                <a:cubicBezTo>
                  <a:pt x="1691" y="2796"/>
                  <a:pt x="1690" y="2802"/>
                  <a:pt x="1688" y="2808"/>
                </a:cubicBezTo>
                <a:lnTo>
                  <a:pt x="1688" y="2808"/>
                </a:lnTo>
                <a:cubicBezTo>
                  <a:pt x="1688" y="2809"/>
                  <a:pt x="1688" y="2810"/>
                  <a:pt x="1688" y="2811"/>
                </a:cubicBezTo>
                <a:lnTo>
                  <a:pt x="1688" y="2811"/>
                </a:lnTo>
                <a:cubicBezTo>
                  <a:pt x="1686" y="2817"/>
                  <a:pt x="1685" y="2824"/>
                  <a:pt x="1684" y="2831"/>
                </a:cubicBezTo>
                <a:lnTo>
                  <a:pt x="1684" y="2831"/>
                </a:lnTo>
                <a:lnTo>
                  <a:pt x="1683" y="2831"/>
                </a:lnTo>
                <a:lnTo>
                  <a:pt x="1683" y="2831"/>
                </a:lnTo>
                <a:cubicBezTo>
                  <a:pt x="1622" y="3122"/>
                  <a:pt x="1553" y="3507"/>
                  <a:pt x="1530" y="3629"/>
                </a:cubicBezTo>
                <a:lnTo>
                  <a:pt x="1530" y="3629"/>
                </a:lnTo>
                <a:lnTo>
                  <a:pt x="1530" y="3629"/>
                </a:lnTo>
                <a:lnTo>
                  <a:pt x="1530" y="3629"/>
                </a:lnTo>
                <a:lnTo>
                  <a:pt x="1530" y="3629"/>
                </a:lnTo>
                <a:cubicBezTo>
                  <a:pt x="1530" y="3634"/>
                  <a:pt x="1529" y="3638"/>
                  <a:pt x="1529" y="3641"/>
                </a:cubicBezTo>
                <a:lnTo>
                  <a:pt x="1529" y="3641"/>
                </a:lnTo>
                <a:cubicBezTo>
                  <a:pt x="1474" y="3641"/>
                  <a:pt x="1419" y="3650"/>
                  <a:pt x="1359" y="3633"/>
                </a:cubicBezTo>
                <a:lnTo>
                  <a:pt x="1359" y="3633"/>
                </a:lnTo>
                <a:cubicBezTo>
                  <a:pt x="1271" y="3606"/>
                  <a:pt x="1178" y="3584"/>
                  <a:pt x="1097" y="3539"/>
                </a:cubicBezTo>
                <a:lnTo>
                  <a:pt x="1097" y="3539"/>
                </a:lnTo>
                <a:cubicBezTo>
                  <a:pt x="983" y="3476"/>
                  <a:pt x="856" y="3422"/>
                  <a:pt x="765" y="3326"/>
                </a:cubicBezTo>
                <a:lnTo>
                  <a:pt x="765" y="3326"/>
                </a:lnTo>
                <a:cubicBezTo>
                  <a:pt x="757" y="3318"/>
                  <a:pt x="687" y="3222"/>
                  <a:pt x="678" y="3227"/>
                </a:cubicBezTo>
                <a:lnTo>
                  <a:pt x="678" y="3227"/>
                </a:lnTo>
                <a:cubicBezTo>
                  <a:pt x="662" y="3235"/>
                  <a:pt x="646" y="3244"/>
                  <a:pt x="632" y="3253"/>
                </a:cubicBezTo>
                <a:lnTo>
                  <a:pt x="632" y="3253"/>
                </a:lnTo>
                <a:cubicBezTo>
                  <a:pt x="633" y="3251"/>
                  <a:pt x="633" y="3249"/>
                  <a:pt x="633" y="3246"/>
                </a:cubicBezTo>
                <a:lnTo>
                  <a:pt x="633" y="3246"/>
                </a:lnTo>
                <a:cubicBezTo>
                  <a:pt x="633" y="3244"/>
                  <a:pt x="632" y="3241"/>
                  <a:pt x="632" y="3239"/>
                </a:cubicBezTo>
                <a:lnTo>
                  <a:pt x="643" y="3221"/>
                </a:lnTo>
                <a:lnTo>
                  <a:pt x="649" y="3212"/>
                </a:lnTo>
                <a:lnTo>
                  <a:pt x="641" y="3207"/>
                </a:lnTo>
                <a:lnTo>
                  <a:pt x="641" y="3207"/>
                </a:lnTo>
                <a:lnTo>
                  <a:pt x="580" y="3166"/>
                </a:lnTo>
                <a:lnTo>
                  <a:pt x="580" y="3166"/>
                </a:lnTo>
                <a:lnTo>
                  <a:pt x="575" y="3163"/>
                </a:lnTo>
                <a:lnTo>
                  <a:pt x="575" y="3163"/>
                </a:lnTo>
                <a:cubicBezTo>
                  <a:pt x="564" y="3171"/>
                  <a:pt x="552" y="3179"/>
                  <a:pt x="542" y="3187"/>
                </a:cubicBezTo>
                <a:lnTo>
                  <a:pt x="536" y="3185"/>
                </a:lnTo>
                <a:lnTo>
                  <a:pt x="536" y="3185"/>
                </a:lnTo>
                <a:cubicBezTo>
                  <a:pt x="536" y="3185"/>
                  <a:pt x="564" y="2995"/>
                  <a:pt x="457" y="2929"/>
                </a:cubicBezTo>
                <a:lnTo>
                  <a:pt x="457" y="2929"/>
                </a:lnTo>
                <a:cubicBezTo>
                  <a:pt x="424" y="2909"/>
                  <a:pt x="384" y="2894"/>
                  <a:pt x="352" y="2871"/>
                </a:cubicBezTo>
                <a:lnTo>
                  <a:pt x="352" y="2871"/>
                </a:lnTo>
                <a:cubicBezTo>
                  <a:pt x="334" y="2857"/>
                  <a:pt x="317" y="2834"/>
                  <a:pt x="295" y="2839"/>
                </a:cubicBezTo>
                <a:lnTo>
                  <a:pt x="295" y="2839"/>
                </a:lnTo>
                <a:cubicBezTo>
                  <a:pt x="268" y="2844"/>
                  <a:pt x="262" y="2872"/>
                  <a:pt x="265" y="2897"/>
                </a:cubicBezTo>
                <a:lnTo>
                  <a:pt x="265" y="2897"/>
                </a:lnTo>
                <a:cubicBezTo>
                  <a:pt x="262" y="2891"/>
                  <a:pt x="260" y="2887"/>
                  <a:pt x="259" y="2886"/>
                </a:cubicBezTo>
                <a:lnTo>
                  <a:pt x="259" y="2886"/>
                </a:lnTo>
                <a:cubicBezTo>
                  <a:pt x="259" y="2888"/>
                  <a:pt x="258" y="2902"/>
                  <a:pt x="262" y="2921"/>
                </a:cubicBezTo>
                <a:lnTo>
                  <a:pt x="262" y="2921"/>
                </a:lnTo>
                <a:cubicBezTo>
                  <a:pt x="261" y="2921"/>
                  <a:pt x="259" y="2921"/>
                  <a:pt x="259" y="2921"/>
                </a:cubicBezTo>
                <a:lnTo>
                  <a:pt x="259" y="2921"/>
                </a:lnTo>
                <a:cubicBezTo>
                  <a:pt x="258" y="2921"/>
                  <a:pt x="257" y="2920"/>
                  <a:pt x="256" y="2920"/>
                </a:cubicBezTo>
                <a:lnTo>
                  <a:pt x="256" y="2920"/>
                </a:lnTo>
                <a:cubicBezTo>
                  <a:pt x="255" y="2920"/>
                  <a:pt x="254" y="2919"/>
                  <a:pt x="253" y="2919"/>
                </a:cubicBezTo>
                <a:lnTo>
                  <a:pt x="253" y="2919"/>
                </a:lnTo>
                <a:cubicBezTo>
                  <a:pt x="252" y="2919"/>
                  <a:pt x="251" y="2919"/>
                  <a:pt x="250" y="2919"/>
                </a:cubicBezTo>
                <a:lnTo>
                  <a:pt x="250" y="2919"/>
                </a:lnTo>
                <a:cubicBezTo>
                  <a:pt x="249" y="2918"/>
                  <a:pt x="247" y="2918"/>
                  <a:pt x="247" y="2918"/>
                </a:cubicBezTo>
                <a:lnTo>
                  <a:pt x="247" y="2918"/>
                </a:lnTo>
                <a:cubicBezTo>
                  <a:pt x="189" y="2907"/>
                  <a:pt x="82" y="2911"/>
                  <a:pt x="79" y="2968"/>
                </a:cubicBezTo>
                <a:lnTo>
                  <a:pt x="79" y="2968"/>
                </a:lnTo>
                <a:lnTo>
                  <a:pt x="79" y="2967"/>
                </a:lnTo>
                <a:lnTo>
                  <a:pt x="79" y="2967"/>
                </a:lnTo>
                <a:cubicBezTo>
                  <a:pt x="77" y="2956"/>
                  <a:pt x="77" y="2950"/>
                  <a:pt x="77" y="2950"/>
                </a:cubicBezTo>
                <a:lnTo>
                  <a:pt x="77" y="2950"/>
                </a:lnTo>
                <a:cubicBezTo>
                  <a:pt x="77" y="2950"/>
                  <a:pt x="75" y="2956"/>
                  <a:pt x="76" y="2968"/>
                </a:cubicBezTo>
                <a:lnTo>
                  <a:pt x="76" y="2968"/>
                </a:lnTo>
                <a:cubicBezTo>
                  <a:pt x="76" y="2975"/>
                  <a:pt x="77" y="2985"/>
                  <a:pt x="81" y="2997"/>
                </a:cubicBezTo>
                <a:lnTo>
                  <a:pt x="81" y="2997"/>
                </a:lnTo>
                <a:cubicBezTo>
                  <a:pt x="45" y="3015"/>
                  <a:pt x="21" y="3053"/>
                  <a:pt x="17" y="3093"/>
                </a:cubicBezTo>
                <a:lnTo>
                  <a:pt x="17" y="3093"/>
                </a:lnTo>
                <a:cubicBezTo>
                  <a:pt x="17" y="3093"/>
                  <a:pt x="17" y="3094"/>
                  <a:pt x="16" y="3095"/>
                </a:cubicBezTo>
                <a:lnTo>
                  <a:pt x="16" y="3095"/>
                </a:lnTo>
                <a:cubicBezTo>
                  <a:pt x="16" y="3098"/>
                  <a:pt x="16" y="3101"/>
                  <a:pt x="16" y="3104"/>
                </a:cubicBezTo>
                <a:lnTo>
                  <a:pt x="16" y="3104"/>
                </a:lnTo>
                <a:cubicBezTo>
                  <a:pt x="16" y="3105"/>
                  <a:pt x="16" y="3106"/>
                  <a:pt x="16" y="3108"/>
                </a:cubicBezTo>
                <a:lnTo>
                  <a:pt x="16" y="3108"/>
                </a:lnTo>
                <a:cubicBezTo>
                  <a:pt x="16" y="3111"/>
                  <a:pt x="16" y="3115"/>
                  <a:pt x="17" y="3119"/>
                </a:cubicBezTo>
                <a:lnTo>
                  <a:pt x="17" y="3119"/>
                </a:lnTo>
                <a:cubicBezTo>
                  <a:pt x="17" y="3119"/>
                  <a:pt x="17" y="3119"/>
                  <a:pt x="17" y="3120"/>
                </a:cubicBezTo>
                <a:lnTo>
                  <a:pt x="17" y="3120"/>
                </a:lnTo>
                <a:cubicBezTo>
                  <a:pt x="16" y="3119"/>
                  <a:pt x="16" y="3119"/>
                  <a:pt x="16" y="3119"/>
                </a:cubicBezTo>
                <a:lnTo>
                  <a:pt x="16" y="3119"/>
                </a:lnTo>
                <a:lnTo>
                  <a:pt x="17" y="3120"/>
                </a:lnTo>
                <a:lnTo>
                  <a:pt x="17" y="3120"/>
                </a:lnTo>
                <a:cubicBezTo>
                  <a:pt x="18" y="3126"/>
                  <a:pt x="19" y="3132"/>
                  <a:pt x="18" y="3138"/>
                </a:cubicBezTo>
                <a:lnTo>
                  <a:pt x="18" y="3138"/>
                </a:lnTo>
                <a:cubicBezTo>
                  <a:pt x="17" y="3146"/>
                  <a:pt x="13" y="3153"/>
                  <a:pt x="10" y="3161"/>
                </a:cubicBezTo>
                <a:lnTo>
                  <a:pt x="10" y="3161"/>
                </a:lnTo>
                <a:cubicBezTo>
                  <a:pt x="0" y="3183"/>
                  <a:pt x="3" y="3210"/>
                  <a:pt x="16" y="3230"/>
                </a:cubicBezTo>
                <a:lnTo>
                  <a:pt x="16" y="3230"/>
                </a:lnTo>
                <a:cubicBezTo>
                  <a:pt x="16" y="3231"/>
                  <a:pt x="17" y="3231"/>
                  <a:pt x="17" y="3232"/>
                </a:cubicBezTo>
                <a:lnTo>
                  <a:pt x="17" y="3232"/>
                </a:lnTo>
                <a:cubicBezTo>
                  <a:pt x="17" y="3237"/>
                  <a:pt x="13" y="3245"/>
                  <a:pt x="13" y="3249"/>
                </a:cubicBezTo>
                <a:lnTo>
                  <a:pt x="13" y="3249"/>
                </a:lnTo>
                <a:lnTo>
                  <a:pt x="13" y="3249"/>
                </a:lnTo>
                <a:lnTo>
                  <a:pt x="13" y="3249"/>
                </a:lnTo>
                <a:cubicBezTo>
                  <a:pt x="13" y="3253"/>
                  <a:pt x="13" y="3256"/>
                  <a:pt x="13" y="3260"/>
                </a:cubicBezTo>
                <a:lnTo>
                  <a:pt x="13" y="3260"/>
                </a:lnTo>
                <a:cubicBezTo>
                  <a:pt x="22" y="3331"/>
                  <a:pt x="110" y="3369"/>
                  <a:pt x="168" y="3388"/>
                </a:cubicBezTo>
                <a:lnTo>
                  <a:pt x="168" y="3388"/>
                </a:lnTo>
                <a:cubicBezTo>
                  <a:pt x="189" y="3395"/>
                  <a:pt x="213" y="3402"/>
                  <a:pt x="239" y="3407"/>
                </a:cubicBezTo>
                <a:lnTo>
                  <a:pt x="239" y="3407"/>
                </a:lnTo>
                <a:cubicBezTo>
                  <a:pt x="279" y="3415"/>
                  <a:pt x="323" y="3419"/>
                  <a:pt x="361" y="3412"/>
                </a:cubicBezTo>
                <a:lnTo>
                  <a:pt x="361" y="3412"/>
                </a:lnTo>
                <a:cubicBezTo>
                  <a:pt x="360" y="3413"/>
                  <a:pt x="360" y="3414"/>
                  <a:pt x="360" y="3414"/>
                </a:cubicBezTo>
                <a:lnTo>
                  <a:pt x="360" y="3414"/>
                </a:lnTo>
                <a:cubicBezTo>
                  <a:pt x="367" y="3426"/>
                  <a:pt x="426" y="3459"/>
                  <a:pt x="458" y="3477"/>
                </a:cubicBezTo>
                <a:lnTo>
                  <a:pt x="458" y="3477"/>
                </a:lnTo>
                <a:cubicBezTo>
                  <a:pt x="426" y="3556"/>
                  <a:pt x="419" y="3618"/>
                  <a:pt x="419" y="3618"/>
                </a:cubicBezTo>
                <a:lnTo>
                  <a:pt x="419" y="3618"/>
                </a:lnTo>
                <a:cubicBezTo>
                  <a:pt x="555" y="3731"/>
                  <a:pt x="703" y="3830"/>
                  <a:pt x="853" y="3919"/>
                </a:cubicBezTo>
                <a:lnTo>
                  <a:pt x="853" y="3919"/>
                </a:lnTo>
                <a:cubicBezTo>
                  <a:pt x="1078" y="4052"/>
                  <a:pt x="1377" y="4172"/>
                  <a:pt x="1642" y="4119"/>
                </a:cubicBezTo>
                <a:lnTo>
                  <a:pt x="1642" y="4119"/>
                </a:lnTo>
                <a:cubicBezTo>
                  <a:pt x="1668" y="4114"/>
                  <a:pt x="1690" y="4111"/>
                  <a:pt x="1708" y="4106"/>
                </a:cubicBezTo>
                <a:lnTo>
                  <a:pt x="1708" y="4106"/>
                </a:lnTo>
                <a:cubicBezTo>
                  <a:pt x="1740" y="4100"/>
                  <a:pt x="1762" y="4090"/>
                  <a:pt x="1777" y="4062"/>
                </a:cubicBezTo>
                <a:lnTo>
                  <a:pt x="1777" y="4062"/>
                </a:lnTo>
                <a:cubicBezTo>
                  <a:pt x="1846" y="4013"/>
                  <a:pt x="1915" y="3795"/>
                  <a:pt x="1965" y="3528"/>
                </a:cubicBezTo>
                <a:lnTo>
                  <a:pt x="1965" y="3528"/>
                </a:lnTo>
                <a:cubicBezTo>
                  <a:pt x="1985" y="3628"/>
                  <a:pt x="2004" y="3720"/>
                  <a:pt x="2009" y="3748"/>
                </a:cubicBezTo>
                <a:lnTo>
                  <a:pt x="2009" y="3748"/>
                </a:lnTo>
                <a:cubicBezTo>
                  <a:pt x="2015" y="3784"/>
                  <a:pt x="2021" y="3820"/>
                  <a:pt x="2027" y="3858"/>
                </a:cubicBezTo>
                <a:lnTo>
                  <a:pt x="2027" y="3858"/>
                </a:lnTo>
                <a:cubicBezTo>
                  <a:pt x="2047" y="3984"/>
                  <a:pt x="2069" y="4126"/>
                  <a:pt x="2086" y="4263"/>
                </a:cubicBezTo>
                <a:lnTo>
                  <a:pt x="2086" y="4263"/>
                </a:lnTo>
                <a:cubicBezTo>
                  <a:pt x="2086" y="4263"/>
                  <a:pt x="2086" y="4263"/>
                  <a:pt x="2086" y="4262"/>
                </a:cubicBezTo>
                <a:lnTo>
                  <a:pt x="2086" y="4262"/>
                </a:lnTo>
                <a:cubicBezTo>
                  <a:pt x="2092" y="4312"/>
                  <a:pt x="2096" y="4360"/>
                  <a:pt x="2100" y="4407"/>
                </a:cubicBezTo>
                <a:lnTo>
                  <a:pt x="2100" y="4407"/>
                </a:lnTo>
                <a:cubicBezTo>
                  <a:pt x="2100" y="4409"/>
                  <a:pt x="2100" y="4411"/>
                  <a:pt x="2101" y="4414"/>
                </a:cubicBezTo>
                <a:lnTo>
                  <a:pt x="2101" y="4414"/>
                </a:lnTo>
                <a:cubicBezTo>
                  <a:pt x="2102" y="4429"/>
                  <a:pt x="2103" y="4444"/>
                  <a:pt x="2104" y="4459"/>
                </a:cubicBezTo>
                <a:lnTo>
                  <a:pt x="2104" y="4459"/>
                </a:lnTo>
                <a:cubicBezTo>
                  <a:pt x="2106" y="4498"/>
                  <a:pt x="2108" y="4538"/>
                  <a:pt x="2110" y="4578"/>
                </a:cubicBezTo>
                <a:lnTo>
                  <a:pt x="2110" y="4578"/>
                </a:lnTo>
                <a:cubicBezTo>
                  <a:pt x="2110" y="4579"/>
                  <a:pt x="2110" y="4579"/>
                  <a:pt x="2110" y="4579"/>
                </a:cubicBezTo>
                <a:lnTo>
                  <a:pt x="2110" y="4579"/>
                </a:lnTo>
                <a:cubicBezTo>
                  <a:pt x="2112" y="4619"/>
                  <a:pt x="2114" y="4659"/>
                  <a:pt x="2115" y="4699"/>
                </a:cubicBezTo>
                <a:lnTo>
                  <a:pt x="2115" y="4699"/>
                </a:lnTo>
                <a:cubicBezTo>
                  <a:pt x="2118" y="4757"/>
                  <a:pt x="2095" y="4872"/>
                  <a:pt x="2129" y="4922"/>
                </a:cubicBezTo>
                <a:lnTo>
                  <a:pt x="2129" y="4922"/>
                </a:lnTo>
                <a:cubicBezTo>
                  <a:pt x="2142" y="4942"/>
                  <a:pt x="2165" y="4955"/>
                  <a:pt x="2192" y="4965"/>
                </a:cubicBezTo>
                <a:lnTo>
                  <a:pt x="2192" y="4965"/>
                </a:lnTo>
                <a:cubicBezTo>
                  <a:pt x="2223" y="4983"/>
                  <a:pt x="2267" y="4992"/>
                  <a:pt x="2312" y="4994"/>
                </a:cubicBezTo>
                <a:lnTo>
                  <a:pt x="2312" y="4994"/>
                </a:lnTo>
                <a:cubicBezTo>
                  <a:pt x="2316" y="5136"/>
                  <a:pt x="2334" y="5312"/>
                  <a:pt x="2382" y="5489"/>
                </a:cubicBezTo>
                <a:lnTo>
                  <a:pt x="2382" y="5489"/>
                </a:lnTo>
                <a:cubicBezTo>
                  <a:pt x="2382" y="5489"/>
                  <a:pt x="1510" y="6180"/>
                  <a:pt x="1181" y="7157"/>
                </a:cubicBezTo>
                <a:lnTo>
                  <a:pt x="1181" y="7157"/>
                </a:lnTo>
                <a:cubicBezTo>
                  <a:pt x="1180" y="7158"/>
                  <a:pt x="1180" y="7159"/>
                  <a:pt x="1180" y="7160"/>
                </a:cubicBezTo>
                <a:lnTo>
                  <a:pt x="1180" y="7160"/>
                </a:lnTo>
                <a:cubicBezTo>
                  <a:pt x="1161" y="7217"/>
                  <a:pt x="1143" y="7275"/>
                  <a:pt x="1128" y="7335"/>
                </a:cubicBezTo>
                <a:lnTo>
                  <a:pt x="1128" y="7335"/>
                </a:lnTo>
                <a:cubicBezTo>
                  <a:pt x="1127" y="7340"/>
                  <a:pt x="1125" y="7346"/>
                  <a:pt x="1124" y="7352"/>
                </a:cubicBezTo>
                <a:lnTo>
                  <a:pt x="1124" y="7352"/>
                </a:lnTo>
                <a:cubicBezTo>
                  <a:pt x="1121" y="7363"/>
                  <a:pt x="1118" y="7374"/>
                  <a:pt x="1116" y="7385"/>
                </a:cubicBezTo>
                <a:lnTo>
                  <a:pt x="1116" y="7385"/>
                </a:lnTo>
                <a:cubicBezTo>
                  <a:pt x="1114" y="7392"/>
                  <a:pt x="1112" y="7400"/>
                  <a:pt x="1111" y="7407"/>
                </a:cubicBezTo>
                <a:lnTo>
                  <a:pt x="1111" y="7407"/>
                </a:lnTo>
                <a:cubicBezTo>
                  <a:pt x="1108" y="7417"/>
                  <a:pt x="1106" y="7428"/>
                  <a:pt x="1104" y="7438"/>
                </a:cubicBezTo>
                <a:lnTo>
                  <a:pt x="1104" y="7438"/>
                </a:lnTo>
                <a:cubicBezTo>
                  <a:pt x="1102" y="7447"/>
                  <a:pt x="1100" y="7456"/>
                  <a:pt x="1098" y="7465"/>
                </a:cubicBezTo>
                <a:lnTo>
                  <a:pt x="1098" y="7465"/>
                </a:lnTo>
                <a:cubicBezTo>
                  <a:pt x="1096" y="7478"/>
                  <a:pt x="1093" y="7491"/>
                  <a:pt x="1091" y="7504"/>
                </a:cubicBezTo>
                <a:lnTo>
                  <a:pt x="1091" y="7504"/>
                </a:lnTo>
                <a:cubicBezTo>
                  <a:pt x="1089" y="7517"/>
                  <a:pt x="1086" y="7531"/>
                  <a:pt x="1084" y="7544"/>
                </a:cubicBezTo>
                <a:lnTo>
                  <a:pt x="1084" y="7544"/>
                </a:lnTo>
                <a:cubicBezTo>
                  <a:pt x="1083" y="7552"/>
                  <a:pt x="1082" y="7560"/>
                  <a:pt x="1080" y="7568"/>
                </a:cubicBezTo>
                <a:lnTo>
                  <a:pt x="1080" y="7568"/>
                </a:lnTo>
                <a:cubicBezTo>
                  <a:pt x="1079" y="7579"/>
                  <a:pt x="1077" y="7590"/>
                  <a:pt x="1076" y="7601"/>
                </a:cubicBezTo>
                <a:lnTo>
                  <a:pt x="1076" y="7601"/>
                </a:lnTo>
                <a:cubicBezTo>
                  <a:pt x="1075" y="7609"/>
                  <a:pt x="1074" y="7618"/>
                  <a:pt x="1073" y="7626"/>
                </a:cubicBezTo>
                <a:lnTo>
                  <a:pt x="1073" y="7626"/>
                </a:lnTo>
                <a:cubicBezTo>
                  <a:pt x="1071" y="7638"/>
                  <a:pt x="1070" y="7649"/>
                  <a:pt x="1069" y="7661"/>
                </a:cubicBezTo>
                <a:lnTo>
                  <a:pt x="1069" y="7661"/>
                </a:lnTo>
                <a:cubicBezTo>
                  <a:pt x="1068" y="7668"/>
                  <a:pt x="1067" y="7676"/>
                  <a:pt x="1066" y="7683"/>
                </a:cubicBezTo>
                <a:lnTo>
                  <a:pt x="1066" y="7683"/>
                </a:lnTo>
                <a:cubicBezTo>
                  <a:pt x="1065" y="7699"/>
                  <a:pt x="1063" y="7715"/>
                  <a:pt x="1062" y="7731"/>
                </a:cubicBezTo>
                <a:lnTo>
                  <a:pt x="1062" y="7731"/>
                </a:lnTo>
                <a:cubicBezTo>
                  <a:pt x="1062" y="7734"/>
                  <a:pt x="1062" y="7738"/>
                  <a:pt x="1062" y="7740"/>
                </a:cubicBezTo>
                <a:lnTo>
                  <a:pt x="1062" y="7740"/>
                </a:lnTo>
                <a:cubicBezTo>
                  <a:pt x="1060" y="7760"/>
                  <a:pt x="1059" y="7779"/>
                  <a:pt x="1059" y="7798"/>
                </a:cubicBezTo>
                <a:lnTo>
                  <a:pt x="1059" y="7798"/>
                </a:lnTo>
                <a:cubicBezTo>
                  <a:pt x="1058" y="7804"/>
                  <a:pt x="1058" y="7810"/>
                  <a:pt x="1058" y="7817"/>
                </a:cubicBezTo>
                <a:lnTo>
                  <a:pt x="1058" y="7817"/>
                </a:lnTo>
                <a:cubicBezTo>
                  <a:pt x="1057" y="7830"/>
                  <a:pt x="1057" y="7844"/>
                  <a:pt x="1057" y="7857"/>
                </a:cubicBezTo>
                <a:lnTo>
                  <a:pt x="1057" y="7857"/>
                </a:lnTo>
                <a:cubicBezTo>
                  <a:pt x="1057" y="7864"/>
                  <a:pt x="1057" y="7871"/>
                  <a:pt x="1057" y="7879"/>
                </a:cubicBezTo>
                <a:lnTo>
                  <a:pt x="1057" y="7879"/>
                </a:lnTo>
                <a:cubicBezTo>
                  <a:pt x="1057" y="7892"/>
                  <a:pt x="1057" y="7905"/>
                  <a:pt x="1057" y="7920"/>
                </a:cubicBezTo>
                <a:lnTo>
                  <a:pt x="1057" y="7920"/>
                </a:lnTo>
                <a:cubicBezTo>
                  <a:pt x="1057" y="7925"/>
                  <a:pt x="1057" y="7932"/>
                  <a:pt x="1057" y="7938"/>
                </a:cubicBezTo>
                <a:lnTo>
                  <a:pt x="1057" y="7938"/>
                </a:lnTo>
                <a:cubicBezTo>
                  <a:pt x="1058" y="7958"/>
                  <a:pt x="1059" y="7978"/>
                  <a:pt x="1060" y="7998"/>
                </a:cubicBezTo>
                <a:lnTo>
                  <a:pt x="1060" y="7998"/>
                </a:lnTo>
                <a:lnTo>
                  <a:pt x="1060" y="7998"/>
                </a:lnTo>
                <a:cubicBezTo>
                  <a:pt x="1060" y="7998"/>
                  <a:pt x="1106" y="8041"/>
                  <a:pt x="1187" y="8074"/>
                </a:cubicBezTo>
                <a:lnTo>
                  <a:pt x="1181" y="8073"/>
                </a:lnTo>
                <a:lnTo>
                  <a:pt x="1143" y="8068"/>
                </a:lnTo>
                <a:lnTo>
                  <a:pt x="1105" y="8063"/>
                </a:lnTo>
                <a:lnTo>
                  <a:pt x="1105" y="8063"/>
                </a:lnTo>
                <a:cubicBezTo>
                  <a:pt x="1105" y="8063"/>
                  <a:pt x="782" y="7833"/>
                  <a:pt x="584" y="7862"/>
                </a:cubicBezTo>
                <a:lnTo>
                  <a:pt x="584" y="7862"/>
                </a:lnTo>
                <a:cubicBezTo>
                  <a:pt x="583" y="7862"/>
                  <a:pt x="582" y="7862"/>
                  <a:pt x="581" y="7863"/>
                </a:cubicBezTo>
                <a:lnTo>
                  <a:pt x="581" y="7863"/>
                </a:lnTo>
                <a:cubicBezTo>
                  <a:pt x="577" y="7864"/>
                  <a:pt x="572" y="7864"/>
                  <a:pt x="568" y="7865"/>
                </a:cubicBezTo>
                <a:lnTo>
                  <a:pt x="568" y="7865"/>
                </a:lnTo>
                <a:cubicBezTo>
                  <a:pt x="568" y="7865"/>
                  <a:pt x="568" y="7865"/>
                  <a:pt x="567" y="7865"/>
                </a:cubicBezTo>
                <a:lnTo>
                  <a:pt x="567" y="7865"/>
                </a:lnTo>
                <a:cubicBezTo>
                  <a:pt x="534" y="7873"/>
                  <a:pt x="506" y="7889"/>
                  <a:pt x="483" y="7916"/>
                </a:cubicBezTo>
                <a:lnTo>
                  <a:pt x="483" y="7916"/>
                </a:lnTo>
                <a:cubicBezTo>
                  <a:pt x="479" y="7921"/>
                  <a:pt x="476" y="7926"/>
                  <a:pt x="473" y="7931"/>
                </a:cubicBezTo>
                <a:lnTo>
                  <a:pt x="473" y="7931"/>
                </a:lnTo>
                <a:cubicBezTo>
                  <a:pt x="467" y="7941"/>
                  <a:pt x="465" y="7951"/>
                  <a:pt x="466" y="7961"/>
                </a:cubicBezTo>
                <a:lnTo>
                  <a:pt x="466" y="7961"/>
                </a:lnTo>
                <a:lnTo>
                  <a:pt x="466" y="7962"/>
                </a:lnTo>
                <a:lnTo>
                  <a:pt x="466" y="7962"/>
                </a:lnTo>
                <a:cubicBezTo>
                  <a:pt x="466" y="7964"/>
                  <a:pt x="466" y="7966"/>
                  <a:pt x="466" y="7968"/>
                </a:cubicBezTo>
                <a:lnTo>
                  <a:pt x="466" y="7968"/>
                </a:lnTo>
                <a:cubicBezTo>
                  <a:pt x="466" y="7969"/>
                  <a:pt x="467" y="7970"/>
                  <a:pt x="467" y="7971"/>
                </a:cubicBezTo>
                <a:lnTo>
                  <a:pt x="467" y="7971"/>
                </a:lnTo>
                <a:lnTo>
                  <a:pt x="467" y="7972"/>
                </a:lnTo>
                <a:lnTo>
                  <a:pt x="467" y="7972"/>
                </a:lnTo>
                <a:cubicBezTo>
                  <a:pt x="468" y="7975"/>
                  <a:pt x="468" y="7978"/>
                  <a:pt x="469" y="7981"/>
                </a:cubicBezTo>
                <a:lnTo>
                  <a:pt x="469" y="7981"/>
                </a:lnTo>
                <a:cubicBezTo>
                  <a:pt x="469" y="7981"/>
                  <a:pt x="470" y="7982"/>
                  <a:pt x="470" y="7983"/>
                </a:cubicBezTo>
                <a:lnTo>
                  <a:pt x="470" y="7983"/>
                </a:lnTo>
                <a:cubicBezTo>
                  <a:pt x="471" y="7985"/>
                  <a:pt x="473" y="7988"/>
                  <a:pt x="474" y="7990"/>
                </a:cubicBezTo>
                <a:lnTo>
                  <a:pt x="474" y="7990"/>
                </a:lnTo>
                <a:cubicBezTo>
                  <a:pt x="474" y="7991"/>
                  <a:pt x="474" y="7992"/>
                  <a:pt x="475" y="7992"/>
                </a:cubicBezTo>
                <a:lnTo>
                  <a:pt x="475" y="7992"/>
                </a:lnTo>
                <a:cubicBezTo>
                  <a:pt x="476" y="7995"/>
                  <a:pt x="478" y="7998"/>
                  <a:pt x="479" y="8001"/>
                </a:cubicBezTo>
                <a:lnTo>
                  <a:pt x="479" y="8001"/>
                </a:lnTo>
                <a:cubicBezTo>
                  <a:pt x="480" y="8001"/>
                  <a:pt x="481" y="8002"/>
                  <a:pt x="481" y="8002"/>
                </a:cubicBezTo>
                <a:lnTo>
                  <a:pt x="481" y="8002"/>
                </a:lnTo>
                <a:cubicBezTo>
                  <a:pt x="590" y="8158"/>
                  <a:pt x="1249" y="8304"/>
                  <a:pt x="1249" y="8304"/>
                </a:cubicBezTo>
                <a:lnTo>
                  <a:pt x="1348" y="8110"/>
                </a:lnTo>
                <a:lnTo>
                  <a:pt x="1348" y="8110"/>
                </a:lnTo>
                <a:cubicBezTo>
                  <a:pt x="1381" y="8112"/>
                  <a:pt x="1416" y="8110"/>
                  <a:pt x="1453" y="8104"/>
                </a:cubicBezTo>
                <a:lnTo>
                  <a:pt x="1453" y="8104"/>
                </a:lnTo>
                <a:lnTo>
                  <a:pt x="1453" y="8103"/>
                </a:lnTo>
                <a:lnTo>
                  <a:pt x="1453" y="8103"/>
                </a:lnTo>
                <a:cubicBezTo>
                  <a:pt x="1453" y="8067"/>
                  <a:pt x="1456" y="6921"/>
                  <a:pt x="2465" y="6208"/>
                </a:cubicBezTo>
                <a:lnTo>
                  <a:pt x="2465" y="6208"/>
                </a:lnTo>
                <a:lnTo>
                  <a:pt x="2465" y="6208"/>
                </a:lnTo>
                <a:cubicBezTo>
                  <a:pt x="2472" y="6202"/>
                  <a:pt x="2480" y="6196"/>
                  <a:pt x="2488" y="6191"/>
                </a:cubicBezTo>
                <a:lnTo>
                  <a:pt x="2488" y="6191"/>
                </a:lnTo>
                <a:cubicBezTo>
                  <a:pt x="2488" y="6191"/>
                  <a:pt x="2680" y="6829"/>
                  <a:pt x="3313" y="6878"/>
                </a:cubicBezTo>
                <a:lnTo>
                  <a:pt x="3313" y="6878"/>
                </a:lnTo>
                <a:cubicBezTo>
                  <a:pt x="3881" y="6920"/>
                  <a:pt x="4763" y="6276"/>
                  <a:pt x="4935" y="6145"/>
                </a:cubicBezTo>
                <a:lnTo>
                  <a:pt x="4935" y="6145"/>
                </a:lnTo>
                <a:cubicBezTo>
                  <a:pt x="4957" y="6205"/>
                  <a:pt x="5078" y="6519"/>
                  <a:pt x="5238" y="6602"/>
                </a:cubicBezTo>
                <a:lnTo>
                  <a:pt x="5238" y="6602"/>
                </a:lnTo>
                <a:cubicBezTo>
                  <a:pt x="5239" y="6602"/>
                  <a:pt x="5240" y="6603"/>
                  <a:pt x="5241" y="6603"/>
                </a:cubicBezTo>
                <a:lnTo>
                  <a:pt x="5241" y="6603"/>
                </a:lnTo>
                <a:cubicBezTo>
                  <a:pt x="5245" y="6605"/>
                  <a:pt x="5249" y="6607"/>
                  <a:pt x="5253" y="6608"/>
                </a:cubicBezTo>
                <a:lnTo>
                  <a:pt x="5253" y="6608"/>
                </a:lnTo>
                <a:lnTo>
                  <a:pt x="5254" y="6608"/>
                </a:lnTo>
                <a:lnTo>
                  <a:pt x="5254" y="6608"/>
                </a:lnTo>
                <a:cubicBezTo>
                  <a:pt x="5285" y="6622"/>
                  <a:pt x="5318" y="6626"/>
                  <a:pt x="5351" y="6617"/>
                </a:cubicBezTo>
                <a:lnTo>
                  <a:pt x="5351" y="6617"/>
                </a:lnTo>
                <a:cubicBezTo>
                  <a:pt x="5371" y="6612"/>
                  <a:pt x="5384" y="6603"/>
                  <a:pt x="5392" y="6590"/>
                </a:cubicBezTo>
                <a:lnTo>
                  <a:pt x="5392" y="6590"/>
                </a:lnTo>
                <a:lnTo>
                  <a:pt x="5392" y="6590"/>
                </a:lnTo>
                <a:lnTo>
                  <a:pt x="5392" y="6590"/>
                </a:lnTo>
                <a:cubicBezTo>
                  <a:pt x="5394" y="6587"/>
                  <a:pt x="5395" y="6584"/>
                  <a:pt x="5397" y="6582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Roboto Light" panose="02000000000000000000" pitchFamily="2" charset="0"/>
            </a:endParaRP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41136873-42C4-F447-B970-5E36EE0EB0DA}"/>
              </a:ext>
            </a:extLst>
          </p:cNvPr>
          <p:cNvSpPr txBox="1">
            <a:spLocks/>
          </p:cNvSpPr>
          <p:nvPr userDrawn="1"/>
        </p:nvSpPr>
        <p:spPr>
          <a:xfrm>
            <a:off x="11658544" y="447825"/>
            <a:ext cx="512502" cy="36471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9pPr>
          </a:lstStyle>
          <a:p>
            <a:fld id="{A010D1D2-A5C5-4520-877C-7F28899EB247}" type="slidenum">
              <a:rPr lang="en-US" sz="1600">
                <a:latin typeface="Segoe UI Light" panose="020B0502040204020203" pitchFamily="34" charset="0"/>
              </a:rPr>
              <a:pPr/>
              <a:t>‹#›</a:t>
            </a:fld>
            <a:endParaRPr lang="en-US" sz="1600" dirty="0">
              <a:latin typeface="Segoe UI Light" panose="020B0502040204020203" pitchFamily="34" charset="0"/>
            </a:endParaRPr>
          </a:p>
        </p:txBody>
      </p:sp>
      <p:sp>
        <p:nvSpPr>
          <p:cNvPr id="15" name="Freeform 16">
            <a:extLst>
              <a:ext uri="{FF2B5EF4-FFF2-40B4-BE49-F238E27FC236}">
                <a16:creationId xmlns:a16="http://schemas.microsoft.com/office/drawing/2014/main" id="{27A624E7-3FB3-8E4A-BFE6-0BFDE82DCE7A}"/>
              </a:ext>
            </a:extLst>
          </p:cNvPr>
          <p:cNvSpPr>
            <a:spLocks/>
          </p:cNvSpPr>
          <p:nvPr userDrawn="1"/>
        </p:nvSpPr>
        <p:spPr bwMode="auto">
          <a:xfrm>
            <a:off x="-7621" y="2613746"/>
            <a:ext cx="6122997" cy="4243362"/>
          </a:xfrm>
          <a:custGeom>
            <a:avLst/>
            <a:gdLst>
              <a:gd name="T0" fmla="*/ 3143 w 3874"/>
              <a:gd name="T1" fmla="*/ 0 h 2676"/>
              <a:gd name="T2" fmla="*/ 0 w 3874"/>
              <a:gd name="T3" fmla="*/ 840 h 2676"/>
              <a:gd name="T4" fmla="*/ 0 w 3874"/>
              <a:gd name="T5" fmla="*/ 2673 h 2676"/>
              <a:gd name="T6" fmla="*/ 3874 w 3874"/>
              <a:gd name="T7" fmla="*/ 2676 h 2676"/>
              <a:gd name="T8" fmla="*/ 3143 w 3874"/>
              <a:gd name="T9" fmla="*/ 0 h 2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874" h="2676">
                <a:moveTo>
                  <a:pt x="3143" y="0"/>
                </a:moveTo>
                <a:lnTo>
                  <a:pt x="0" y="840"/>
                </a:lnTo>
                <a:lnTo>
                  <a:pt x="0" y="2673"/>
                </a:lnTo>
                <a:lnTo>
                  <a:pt x="3874" y="2676"/>
                </a:lnTo>
                <a:lnTo>
                  <a:pt x="314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latin typeface="Roboto Light" panose="02000000000000000000" pitchFamily="2" charset="0"/>
            </a:endParaRPr>
          </a:p>
        </p:txBody>
      </p:sp>
      <p:sp>
        <p:nvSpPr>
          <p:cNvPr id="16" name="Freeform 17">
            <a:extLst>
              <a:ext uri="{FF2B5EF4-FFF2-40B4-BE49-F238E27FC236}">
                <a16:creationId xmlns:a16="http://schemas.microsoft.com/office/drawing/2014/main" id="{A522CCB7-BC7E-A84D-A8E0-EE826AAC2AC3}"/>
              </a:ext>
            </a:extLst>
          </p:cNvPr>
          <p:cNvSpPr>
            <a:spLocks/>
          </p:cNvSpPr>
          <p:nvPr userDrawn="1"/>
        </p:nvSpPr>
        <p:spPr bwMode="auto">
          <a:xfrm>
            <a:off x="6638198" y="-2678"/>
            <a:ext cx="5557915" cy="4222748"/>
          </a:xfrm>
          <a:custGeom>
            <a:avLst/>
            <a:gdLst>
              <a:gd name="T0" fmla="*/ 3505 w 3505"/>
              <a:gd name="T1" fmla="*/ 1911 h 2663"/>
              <a:gd name="T2" fmla="*/ 3505 w 3505"/>
              <a:gd name="T3" fmla="*/ 0 h 2663"/>
              <a:gd name="T4" fmla="*/ 0 w 3505"/>
              <a:gd name="T5" fmla="*/ 0 h 2663"/>
              <a:gd name="T6" fmla="*/ 727 w 3505"/>
              <a:gd name="T7" fmla="*/ 2663 h 2663"/>
              <a:gd name="T8" fmla="*/ 3505 w 3505"/>
              <a:gd name="T9" fmla="*/ 1911 h 26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05" h="2663">
                <a:moveTo>
                  <a:pt x="3505" y="1911"/>
                </a:moveTo>
                <a:lnTo>
                  <a:pt x="3505" y="0"/>
                </a:lnTo>
                <a:lnTo>
                  <a:pt x="0" y="0"/>
                </a:lnTo>
                <a:lnTo>
                  <a:pt x="727" y="2663"/>
                </a:lnTo>
                <a:lnTo>
                  <a:pt x="3505" y="1911"/>
                </a:lnTo>
                <a:close/>
              </a:path>
            </a:pathLst>
          </a:custGeom>
          <a:solidFill>
            <a:srgbClr val="D1D9E1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latin typeface="Roboto Light" panose="02000000000000000000" pitchFamily="2" charset="0"/>
            </a:endParaRPr>
          </a:p>
        </p:txBody>
      </p:sp>
      <p:sp>
        <p:nvSpPr>
          <p:cNvPr id="17" name="Freeform 18">
            <a:extLst>
              <a:ext uri="{FF2B5EF4-FFF2-40B4-BE49-F238E27FC236}">
                <a16:creationId xmlns:a16="http://schemas.microsoft.com/office/drawing/2014/main" id="{7BD49716-0A17-DF4D-92E6-7331EAFFF917}"/>
              </a:ext>
            </a:extLst>
          </p:cNvPr>
          <p:cNvSpPr>
            <a:spLocks/>
          </p:cNvSpPr>
          <p:nvPr userDrawn="1"/>
        </p:nvSpPr>
        <p:spPr bwMode="auto">
          <a:xfrm>
            <a:off x="-13007" y="-2678"/>
            <a:ext cx="7190889" cy="3948419"/>
          </a:xfrm>
          <a:custGeom>
            <a:avLst/>
            <a:gdLst>
              <a:gd name="T0" fmla="*/ 4177 w 4526"/>
              <a:gd name="T1" fmla="*/ 0 h 2490"/>
              <a:gd name="T2" fmla="*/ 0 w 4526"/>
              <a:gd name="T3" fmla="*/ 0 h 2490"/>
              <a:gd name="T4" fmla="*/ 0 w 4526"/>
              <a:gd name="T5" fmla="*/ 2490 h 2490"/>
              <a:gd name="T6" fmla="*/ 4526 w 4526"/>
              <a:gd name="T7" fmla="*/ 1282 h 2490"/>
              <a:gd name="T8" fmla="*/ 4177 w 4526"/>
              <a:gd name="T9" fmla="*/ 0 h 2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526" h="2490">
                <a:moveTo>
                  <a:pt x="4177" y="0"/>
                </a:moveTo>
                <a:lnTo>
                  <a:pt x="0" y="0"/>
                </a:lnTo>
                <a:lnTo>
                  <a:pt x="0" y="2490"/>
                </a:lnTo>
                <a:lnTo>
                  <a:pt x="4526" y="1282"/>
                </a:lnTo>
                <a:lnTo>
                  <a:pt x="4177" y="0"/>
                </a:lnTo>
                <a:close/>
              </a:path>
            </a:pathLst>
          </a:custGeom>
          <a:solidFill>
            <a:srgbClr val="123F6E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latin typeface="Roboto Light" panose="02000000000000000000" pitchFamily="2" charset="0"/>
            </a:endParaRPr>
          </a:p>
        </p:txBody>
      </p:sp>
      <p:sp>
        <p:nvSpPr>
          <p:cNvPr id="18" name="Freeform 21">
            <a:extLst>
              <a:ext uri="{FF2B5EF4-FFF2-40B4-BE49-F238E27FC236}">
                <a16:creationId xmlns:a16="http://schemas.microsoft.com/office/drawing/2014/main" id="{65D19EBB-FEE4-0640-B397-7D0453E5EC30}"/>
              </a:ext>
            </a:extLst>
          </p:cNvPr>
          <p:cNvSpPr>
            <a:spLocks/>
          </p:cNvSpPr>
          <p:nvPr userDrawn="1"/>
        </p:nvSpPr>
        <p:spPr bwMode="auto">
          <a:xfrm>
            <a:off x="5554980" y="3031280"/>
            <a:ext cx="6650658" cy="3829492"/>
          </a:xfrm>
          <a:custGeom>
            <a:avLst/>
            <a:gdLst>
              <a:gd name="T0" fmla="*/ 0 w 4158"/>
              <a:gd name="T1" fmla="*/ 1130 h 2415"/>
              <a:gd name="T2" fmla="*/ 350 w 4158"/>
              <a:gd name="T3" fmla="*/ 2415 h 2415"/>
              <a:gd name="T4" fmla="*/ 4158 w 4158"/>
              <a:gd name="T5" fmla="*/ 2415 h 2415"/>
              <a:gd name="T6" fmla="*/ 4158 w 4158"/>
              <a:gd name="T7" fmla="*/ 0 h 2415"/>
              <a:gd name="T8" fmla="*/ 0 w 4158"/>
              <a:gd name="T9" fmla="*/ 1130 h 24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58" h="2415">
                <a:moveTo>
                  <a:pt x="0" y="1130"/>
                </a:moveTo>
                <a:lnTo>
                  <a:pt x="350" y="2415"/>
                </a:lnTo>
                <a:lnTo>
                  <a:pt x="4158" y="2415"/>
                </a:lnTo>
                <a:lnTo>
                  <a:pt x="4158" y="0"/>
                </a:lnTo>
                <a:lnTo>
                  <a:pt x="0" y="1130"/>
                </a:lnTo>
                <a:close/>
              </a:path>
            </a:pathLst>
          </a:custGeom>
          <a:solidFill>
            <a:srgbClr val="606060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latin typeface="Roboto Light" panose="02000000000000000000" pitchFamily="2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0D7FD7C-7361-7842-818D-55E16AEB5737}"/>
              </a:ext>
            </a:extLst>
          </p:cNvPr>
          <p:cNvSpPr txBox="1"/>
          <p:nvPr userDrawn="1"/>
        </p:nvSpPr>
        <p:spPr>
          <a:xfrm>
            <a:off x="733161" y="108659"/>
            <a:ext cx="4600839" cy="375156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r>
              <a:rPr lang="en-US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Arial" panose="020B0604020202020204" pitchFamily="34" charset="0"/>
              </a:rPr>
              <a:t>LAST WEEK / DONE / HIGHLIGHTS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  <a:ea typeface="League Spartan" charset="0"/>
              <a:cs typeface="Arial" panose="020B0604020202020204" pitchFamily="34" charset="0"/>
            </a:endParaRPr>
          </a:p>
        </p:txBody>
      </p:sp>
      <p:sp>
        <p:nvSpPr>
          <p:cNvPr id="21" name="Freeform 10">
            <a:extLst>
              <a:ext uri="{FF2B5EF4-FFF2-40B4-BE49-F238E27FC236}">
                <a16:creationId xmlns:a16="http://schemas.microsoft.com/office/drawing/2014/main" id="{FC09D5BE-B530-5449-976A-AD85C1D7554F}"/>
              </a:ext>
            </a:extLst>
          </p:cNvPr>
          <p:cNvSpPr>
            <a:spLocks noChangeAspect="1"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67217" y="1049158"/>
            <a:ext cx="731235" cy="1015931"/>
          </a:xfrm>
          <a:custGeom>
            <a:avLst/>
            <a:gdLst>
              <a:gd name="T0" fmla="*/ 4239 w 6036"/>
              <a:gd name="T1" fmla="*/ 2818 h 8387"/>
              <a:gd name="T2" fmla="*/ 4967 w 6036"/>
              <a:gd name="T3" fmla="*/ 1131 h 8387"/>
              <a:gd name="T4" fmla="*/ 4818 w 6036"/>
              <a:gd name="T5" fmla="*/ 684 h 8387"/>
              <a:gd name="T6" fmla="*/ 4701 w 6036"/>
              <a:gd name="T7" fmla="*/ 662 h 8387"/>
              <a:gd name="T8" fmla="*/ 4557 w 6036"/>
              <a:gd name="T9" fmla="*/ 696 h 8387"/>
              <a:gd name="T10" fmla="*/ 4456 w 6036"/>
              <a:gd name="T11" fmla="*/ 860 h 8387"/>
              <a:gd name="T12" fmla="*/ 4785 w 6036"/>
              <a:gd name="T13" fmla="*/ 2085 h 8387"/>
              <a:gd name="T14" fmla="*/ 4834 w 6036"/>
              <a:gd name="T15" fmla="*/ 2261 h 8387"/>
              <a:gd name="T16" fmla="*/ 3779 w 6036"/>
              <a:gd name="T17" fmla="*/ 2203 h 8387"/>
              <a:gd name="T18" fmla="*/ 3195 w 6036"/>
              <a:gd name="T19" fmla="*/ 1990 h 8387"/>
              <a:gd name="T20" fmla="*/ 3885 w 6036"/>
              <a:gd name="T21" fmla="*/ 1346 h 8387"/>
              <a:gd name="T22" fmla="*/ 3872 w 6036"/>
              <a:gd name="T23" fmla="*/ 1141 h 8387"/>
              <a:gd name="T24" fmla="*/ 3908 w 6036"/>
              <a:gd name="T25" fmla="*/ 1048 h 8387"/>
              <a:gd name="T26" fmla="*/ 3930 w 6036"/>
              <a:gd name="T27" fmla="*/ 969 h 8387"/>
              <a:gd name="T28" fmla="*/ 3941 w 6036"/>
              <a:gd name="T29" fmla="*/ 902 h 8387"/>
              <a:gd name="T30" fmla="*/ 3944 w 6036"/>
              <a:gd name="T31" fmla="*/ 839 h 8387"/>
              <a:gd name="T32" fmla="*/ 3941 w 6036"/>
              <a:gd name="T33" fmla="*/ 802 h 8387"/>
              <a:gd name="T34" fmla="*/ 3815 w 6036"/>
              <a:gd name="T35" fmla="*/ 559 h 8387"/>
              <a:gd name="T36" fmla="*/ 3763 w 6036"/>
              <a:gd name="T37" fmla="*/ 529 h 8387"/>
              <a:gd name="T38" fmla="*/ 3712 w 6036"/>
              <a:gd name="T39" fmla="*/ 512 h 8387"/>
              <a:gd name="T40" fmla="*/ 3669 w 6036"/>
              <a:gd name="T41" fmla="*/ 505 h 8387"/>
              <a:gd name="T42" fmla="*/ 3639 w 6036"/>
              <a:gd name="T43" fmla="*/ 504 h 8387"/>
              <a:gd name="T44" fmla="*/ 3628 w 6036"/>
              <a:gd name="T45" fmla="*/ 505 h 8387"/>
              <a:gd name="T46" fmla="*/ 2790 w 6036"/>
              <a:gd name="T47" fmla="*/ 179 h 8387"/>
              <a:gd name="T48" fmla="*/ 2364 w 6036"/>
              <a:gd name="T49" fmla="*/ 145 h 8387"/>
              <a:gd name="T50" fmla="*/ 2308 w 6036"/>
              <a:gd name="T51" fmla="*/ 615 h 8387"/>
              <a:gd name="T52" fmla="*/ 2072 w 6036"/>
              <a:gd name="T53" fmla="*/ 1256 h 8387"/>
              <a:gd name="T54" fmla="*/ 2082 w 6036"/>
              <a:gd name="T55" fmla="*/ 1325 h 8387"/>
              <a:gd name="T56" fmla="*/ 2102 w 6036"/>
              <a:gd name="T57" fmla="*/ 1388 h 8387"/>
              <a:gd name="T58" fmla="*/ 2132 w 6036"/>
              <a:gd name="T59" fmla="*/ 1438 h 8387"/>
              <a:gd name="T60" fmla="*/ 2170 w 6036"/>
              <a:gd name="T61" fmla="*/ 1470 h 8387"/>
              <a:gd name="T62" fmla="*/ 2276 w 6036"/>
              <a:gd name="T63" fmla="*/ 1740 h 8387"/>
              <a:gd name="T64" fmla="*/ 2320 w 6036"/>
              <a:gd name="T65" fmla="*/ 1805 h 8387"/>
              <a:gd name="T66" fmla="*/ 2391 w 6036"/>
              <a:gd name="T67" fmla="*/ 1877 h 8387"/>
              <a:gd name="T68" fmla="*/ 2491 w 6036"/>
              <a:gd name="T69" fmla="*/ 1940 h 8387"/>
              <a:gd name="T70" fmla="*/ 2616 w 6036"/>
              <a:gd name="T71" fmla="*/ 1988 h 8387"/>
              <a:gd name="T72" fmla="*/ 2798 w 6036"/>
              <a:gd name="T73" fmla="*/ 2096 h 8387"/>
              <a:gd name="T74" fmla="*/ 1261 w 6036"/>
              <a:gd name="T75" fmla="*/ 2283 h 8387"/>
              <a:gd name="T76" fmla="*/ 1413 w 6036"/>
              <a:gd name="T77" fmla="*/ 1172 h 8387"/>
              <a:gd name="T78" fmla="*/ 1611 w 6036"/>
              <a:gd name="T79" fmla="*/ 850 h 8387"/>
              <a:gd name="T80" fmla="*/ 1530 w 6036"/>
              <a:gd name="T81" fmla="*/ 686 h 8387"/>
              <a:gd name="T82" fmla="*/ 1374 w 6036"/>
              <a:gd name="T83" fmla="*/ 659 h 8387"/>
              <a:gd name="T84" fmla="*/ 1150 w 6036"/>
              <a:gd name="T85" fmla="*/ 857 h 8387"/>
              <a:gd name="T86" fmla="*/ 848 w 6036"/>
              <a:gd name="T87" fmla="*/ 2470 h 8387"/>
              <a:gd name="T88" fmla="*/ 2587 w 6036"/>
              <a:gd name="T89" fmla="*/ 7218 h 8387"/>
              <a:gd name="T90" fmla="*/ 2612 w 6036"/>
              <a:gd name="T91" fmla="*/ 7761 h 8387"/>
              <a:gd name="T92" fmla="*/ 2624 w 6036"/>
              <a:gd name="T93" fmla="*/ 8027 h 8387"/>
              <a:gd name="T94" fmla="*/ 2072 w 6036"/>
              <a:gd name="T95" fmla="*/ 8158 h 8387"/>
              <a:gd name="T96" fmla="*/ 2026 w 6036"/>
              <a:gd name="T97" fmla="*/ 8286 h 8387"/>
              <a:gd name="T98" fmla="*/ 2057 w 6036"/>
              <a:gd name="T99" fmla="*/ 8314 h 8387"/>
              <a:gd name="T100" fmla="*/ 2998 w 6036"/>
              <a:gd name="T101" fmla="*/ 8018 h 8387"/>
              <a:gd name="T102" fmla="*/ 2999 w 6036"/>
              <a:gd name="T103" fmla="*/ 7973 h 8387"/>
              <a:gd name="T104" fmla="*/ 2999 w 6036"/>
              <a:gd name="T105" fmla="*/ 7916 h 8387"/>
              <a:gd name="T106" fmla="*/ 2997 w 6036"/>
              <a:gd name="T107" fmla="*/ 7849 h 8387"/>
              <a:gd name="T108" fmla="*/ 2973 w 6036"/>
              <a:gd name="T109" fmla="*/ 7393 h 8387"/>
              <a:gd name="T110" fmla="*/ 3669 w 6036"/>
              <a:gd name="T111" fmla="*/ 8045 h 8387"/>
              <a:gd name="T112" fmla="*/ 4513 w 6036"/>
              <a:gd name="T113" fmla="*/ 8303 h 8387"/>
              <a:gd name="T114" fmla="*/ 4544 w 6036"/>
              <a:gd name="T115" fmla="*/ 8275 h 8387"/>
              <a:gd name="T116" fmla="*/ 4490 w 6036"/>
              <a:gd name="T117" fmla="*/ 8138 h 8387"/>
              <a:gd name="T118" fmla="*/ 4570 w 6036"/>
              <a:gd name="T119" fmla="*/ 7248 h 8387"/>
              <a:gd name="T120" fmla="*/ 4823 w 6036"/>
              <a:gd name="T121" fmla="*/ 7122 h 83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036" h="8387">
                <a:moveTo>
                  <a:pt x="4884" y="7093"/>
                </a:moveTo>
                <a:lnTo>
                  <a:pt x="4884" y="7093"/>
                </a:lnTo>
                <a:cubicBezTo>
                  <a:pt x="4897" y="7087"/>
                  <a:pt x="4909" y="7081"/>
                  <a:pt x="4922" y="7075"/>
                </a:cubicBezTo>
                <a:lnTo>
                  <a:pt x="4922" y="7075"/>
                </a:lnTo>
                <a:cubicBezTo>
                  <a:pt x="4926" y="7073"/>
                  <a:pt x="4930" y="7071"/>
                  <a:pt x="4935" y="7069"/>
                </a:cubicBezTo>
                <a:lnTo>
                  <a:pt x="4935" y="7069"/>
                </a:lnTo>
                <a:cubicBezTo>
                  <a:pt x="5035" y="7021"/>
                  <a:pt x="5132" y="6976"/>
                  <a:pt x="5223" y="6933"/>
                </a:cubicBezTo>
                <a:lnTo>
                  <a:pt x="5223" y="6933"/>
                </a:lnTo>
                <a:lnTo>
                  <a:pt x="5223" y="6933"/>
                </a:lnTo>
                <a:cubicBezTo>
                  <a:pt x="5700" y="6709"/>
                  <a:pt x="6035" y="6560"/>
                  <a:pt x="6035" y="6560"/>
                </a:cubicBezTo>
                <a:lnTo>
                  <a:pt x="6035" y="6560"/>
                </a:lnTo>
                <a:cubicBezTo>
                  <a:pt x="6035" y="6560"/>
                  <a:pt x="5078" y="4089"/>
                  <a:pt x="4266" y="2860"/>
                </a:cubicBezTo>
                <a:lnTo>
                  <a:pt x="4266" y="2860"/>
                </a:lnTo>
                <a:cubicBezTo>
                  <a:pt x="4266" y="2859"/>
                  <a:pt x="4265" y="2858"/>
                  <a:pt x="4265" y="2858"/>
                </a:cubicBezTo>
                <a:lnTo>
                  <a:pt x="4265" y="2858"/>
                </a:lnTo>
                <a:cubicBezTo>
                  <a:pt x="4256" y="2844"/>
                  <a:pt x="4248" y="2831"/>
                  <a:pt x="4239" y="2818"/>
                </a:cubicBezTo>
                <a:lnTo>
                  <a:pt x="4239" y="2818"/>
                </a:lnTo>
                <a:cubicBezTo>
                  <a:pt x="4238" y="2817"/>
                  <a:pt x="4237" y="2815"/>
                  <a:pt x="4236" y="2814"/>
                </a:cubicBezTo>
                <a:lnTo>
                  <a:pt x="4236" y="2814"/>
                </a:lnTo>
                <a:cubicBezTo>
                  <a:pt x="4230" y="2805"/>
                  <a:pt x="4224" y="2797"/>
                  <a:pt x="4218" y="2788"/>
                </a:cubicBezTo>
                <a:lnTo>
                  <a:pt x="4218" y="2788"/>
                </a:lnTo>
                <a:cubicBezTo>
                  <a:pt x="4558" y="2784"/>
                  <a:pt x="4957" y="2727"/>
                  <a:pt x="5127" y="2633"/>
                </a:cubicBezTo>
                <a:lnTo>
                  <a:pt x="5127" y="2633"/>
                </a:lnTo>
                <a:cubicBezTo>
                  <a:pt x="5143" y="2624"/>
                  <a:pt x="5157" y="2612"/>
                  <a:pt x="5169" y="2599"/>
                </a:cubicBezTo>
                <a:lnTo>
                  <a:pt x="5169" y="2599"/>
                </a:lnTo>
                <a:cubicBezTo>
                  <a:pt x="5172" y="2596"/>
                  <a:pt x="5174" y="2593"/>
                  <a:pt x="5176" y="2589"/>
                </a:cubicBezTo>
                <a:lnTo>
                  <a:pt x="5176" y="2589"/>
                </a:lnTo>
                <a:cubicBezTo>
                  <a:pt x="5177" y="2589"/>
                  <a:pt x="5178" y="2587"/>
                  <a:pt x="5179" y="2586"/>
                </a:cubicBezTo>
                <a:lnTo>
                  <a:pt x="5179" y="2586"/>
                </a:lnTo>
                <a:cubicBezTo>
                  <a:pt x="5401" y="2296"/>
                  <a:pt x="5004" y="1131"/>
                  <a:pt x="5004" y="1131"/>
                </a:cubicBezTo>
                <a:lnTo>
                  <a:pt x="5004" y="1131"/>
                </a:lnTo>
                <a:cubicBezTo>
                  <a:pt x="5004" y="1131"/>
                  <a:pt x="4990" y="1130"/>
                  <a:pt x="4967" y="1131"/>
                </a:cubicBezTo>
                <a:lnTo>
                  <a:pt x="4967" y="1131"/>
                </a:lnTo>
                <a:cubicBezTo>
                  <a:pt x="4955" y="1097"/>
                  <a:pt x="4939" y="1052"/>
                  <a:pt x="4930" y="1044"/>
                </a:cubicBezTo>
                <a:lnTo>
                  <a:pt x="4930" y="1044"/>
                </a:lnTo>
                <a:cubicBezTo>
                  <a:pt x="4930" y="1044"/>
                  <a:pt x="4930" y="1044"/>
                  <a:pt x="4928" y="1045"/>
                </a:cubicBezTo>
                <a:lnTo>
                  <a:pt x="4928" y="1045"/>
                </a:lnTo>
                <a:cubicBezTo>
                  <a:pt x="4943" y="1010"/>
                  <a:pt x="4947" y="968"/>
                  <a:pt x="4946" y="928"/>
                </a:cubicBezTo>
                <a:lnTo>
                  <a:pt x="4946" y="928"/>
                </a:lnTo>
                <a:cubicBezTo>
                  <a:pt x="4945" y="923"/>
                  <a:pt x="4945" y="918"/>
                  <a:pt x="4945" y="913"/>
                </a:cubicBezTo>
                <a:lnTo>
                  <a:pt x="4945" y="913"/>
                </a:lnTo>
                <a:cubicBezTo>
                  <a:pt x="4944" y="893"/>
                  <a:pt x="4943" y="874"/>
                  <a:pt x="4941" y="857"/>
                </a:cubicBezTo>
                <a:lnTo>
                  <a:pt x="4941" y="857"/>
                </a:lnTo>
                <a:cubicBezTo>
                  <a:pt x="4933" y="796"/>
                  <a:pt x="4912" y="699"/>
                  <a:pt x="4837" y="684"/>
                </a:cubicBezTo>
                <a:lnTo>
                  <a:pt x="4837" y="684"/>
                </a:lnTo>
                <a:lnTo>
                  <a:pt x="4837" y="684"/>
                </a:lnTo>
                <a:lnTo>
                  <a:pt x="4837" y="684"/>
                </a:lnTo>
                <a:cubicBezTo>
                  <a:pt x="4832" y="683"/>
                  <a:pt x="4822" y="688"/>
                  <a:pt x="4818" y="684"/>
                </a:cubicBezTo>
                <a:lnTo>
                  <a:pt x="4818" y="684"/>
                </a:lnTo>
                <a:lnTo>
                  <a:pt x="4818" y="683"/>
                </a:lnTo>
                <a:lnTo>
                  <a:pt x="4818" y="683"/>
                </a:lnTo>
                <a:cubicBezTo>
                  <a:pt x="4801" y="668"/>
                  <a:pt x="4776" y="660"/>
                  <a:pt x="4753" y="665"/>
                </a:cubicBezTo>
                <a:lnTo>
                  <a:pt x="4753" y="665"/>
                </a:lnTo>
                <a:cubicBezTo>
                  <a:pt x="4746" y="666"/>
                  <a:pt x="4738" y="669"/>
                  <a:pt x="4731" y="669"/>
                </a:cubicBezTo>
                <a:lnTo>
                  <a:pt x="4731" y="669"/>
                </a:lnTo>
                <a:cubicBezTo>
                  <a:pt x="4725" y="669"/>
                  <a:pt x="4719" y="666"/>
                  <a:pt x="4713" y="665"/>
                </a:cubicBezTo>
                <a:lnTo>
                  <a:pt x="4713" y="665"/>
                </a:lnTo>
                <a:cubicBezTo>
                  <a:pt x="4713" y="664"/>
                  <a:pt x="4712" y="664"/>
                  <a:pt x="4712" y="664"/>
                </a:cubicBezTo>
                <a:lnTo>
                  <a:pt x="4712" y="664"/>
                </a:lnTo>
                <a:cubicBezTo>
                  <a:pt x="4712" y="664"/>
                  <a:pt x="4713" y="664"/>
                  <a:pt x="4713" y="665"/>
                </a:cubicBezTo>
                <a:lnTo>
                  <a:pt x="4713" y="665"/>
                </a:lnTo>
                <a:cubicBezTo>
                  <a:pt x="4713" y="665"/>
                  <a:pt x="4712" y="665"/>
                  <a:pt x="4712" y="664"/>
                </a:cubicBezTo>
                <a:lnTo>
                  <a:pt x="4712" y="664"/>
                </a:lnTo>
                <a:cubicBezTo>
                  <a:pt x="4708" y="663"/>
                  <a:pt x="4705" y="662"/>
                  <a:pt x="4701" y="662"/>
                </a:cubicBezTo>
                <a:lnTo>
                  <a:pt x="4701" y="662"/>
                </a:lnTo>
                <a:cubicBezTo>
                  <a:pt x="4700" y="661"/>
                  <a:pt x="4699" y="661"/>
                  <a:pt x="4698" y="661"/>
                </a:cubicBezTo>
                <a:lnTo>
                  <a:pt x="4698" y="661"/>
                </a:lnTo>
                <a:cubicBezTo>
                  <a:pt x="4695" y="660"/>
                  <a:pt x="4692" y="660"/>
                  <a:pt x="4689" y="659"/>
                </a:cubicBezTo>
                <a:lnTo>
                  <a:pt x="4689" y="659"/>
                </a:lnTo>
                <a:cubicBezTo>
                  <a:pt x="4688" y="659"/>
                  <a:pt x="4688" y="659"/>
                  <a:pt x="4688" y="659"/>
                </a:cubicBezTo>
                <a:lnTo>
                  <a:pt x="4688" y="659"/>
                </a:lnTo>
                <a:cubicBezTo>
                  <a:pt x="4649" y="656"/>
                  <a:pt x="4608" y="673"/>
                  <a:pt x="4584" y="703"/>
                </a:cubicBezTo>
                <a:lnTo>
                  <a:pt x="4584" y="703"/>
                </a:lnTo>
                <a:cubicBezTo>
                  <a:pt x="4574" y="697"/>
                  <a:pt x="4564" y="695"/>
                  <a:pt x="4557" y="693"/>
                </a:cubicBezTo>
                <a:lnTo>
                  <a:pt x="4557" y="693"/>
                </a:lnTo>
                <a:cubicBezTo>
                  <a:pt x="4546" y="691"/>
                  <a:pt x="4540" y="691"/>
                  <a:pt x="4540" y="691"/>
                </a:cubicBezTo>
                <a:lnTo>
                  <a:pt x="4540" y="691"/>
                </a:lnTo>
                <a:cubicBezTo>
                  <a:pt x="4540" y="691"/>
                  <a:pt x="4546" y="692"/>
                  <a:pt x="4556" y="696"/>
                </a:cubicBezTo>
                <a:lnTo>
                  <a:pt x="4556" y="696"/>
                </a:lnTo>
                <a:cubicBezTo>
                  <a:pt x="4557" y="696"/>
                  <a:pt x="4557" y="696"/>
                  <a:pt x="4557" y="696"/>
                </a:cubicBezTo>
                <a:lnTo>
                  <a:pt x="4557" y="696"/>
                </a:lnTo>
                <a:cubicBezTo>
                  <a:pt x="4503" y="689"/>
                  <a:pt x="4480" y="790"/>
                  <a:pt x="4479" y="847"/>
                </a:cubicBezTo>
                <a:lnTo>
                  <a:pt x="4479" y="847"/>
                </a:lnTo>
                <a:cubicBezTo>
                  <a:pt x="4479" y="848"/>
                  <a:pt x="4479" y="849"/>
                  <a:pt x="4479" y="850"/>
                </a:cubicBezTo>
                <a:lnTo>
                  <a:pt x="4479" y="850"/>
                </a:lnTo>
                <a:cubicBezTo>
                  <a:pt x="4479" y="851"/>
                  <a:pt x="4479" y="851"/>
                  <a:pt x="4479" y="852"/>
                </a:cubicBezTo>
                <a:lnTo>
                  <a:pt x="4479" y="852"/>
                </a:lnTo>
                <a:cubicBezTo>
                  <a:pt x="4479" y="854"/>
                  <a:pt x="4479" y="855"/>
                  <a:pt x="4479" y="856"/>
                </a:cubicBezTo>
                <a:lnTo>
                  <a:pt x="4479" y="856"/>
                </a:lnTo>
                <a:cubicBezTo>
                  <a:pt x="4479" y="857"/>
                  <a:pt x="4479" y="858"/>
                  <a:pt x="4479" y="858"/>
                </a:cubicBezTo>
                <a:lnTo>
                  <a:pt x="4479" y="858"/>
                </a:lnTo>
                <a:cubicBezTo>
                  <a:pt x="4479" y="860"/>
                  <a:pt x="4480" y="860"/>
                  <a:pt x="4480" y="861"/>
                </a:cubicBezTo>
                <a:lnTo>
                  <a:pt x="4480" y="861"/>
                </a:lnTo>
                <a:cubicBezTo>
                  <a:pt x="4462" y="854"/>
                  <a:pt x="4449" y="853"/>
                  <a:pt x="4446" y="852"/>
                </a:cubicBezTo>
                <a:lnTo>
                  <a:pt x="4446" y="852"/>
                </a:lnTo>
                <a:cubicBezTo>
                  <a:pt x="4447" y="853"/>
                  <a:pt x="4450" y="856"/>
                  <a:pt x="4456" y="860"/>
                </a:cubicBezTo>
                <a:lnTo>
                  <a:pt x="4456" y="860"/>
                </a:lnTo>
                <a:cubicBezTo>
                  <a:pt x="4432" y="852"/>
                  <a:pt x="4405" y="854"/>
                  <a:pt x="4395" y="877"/>
                </a:cubicBezTo>
                <a:lnTo>
                  <a:pt x="4395" y="877"/>
                </a:lnTo>
                <a:cubicBezTo>
                  <a:pt x="4387" y="898"/>
                  <a:pt x="4405" y="918"/>
                  <a:pt x="4415" y="938"/>
                </a:cubicBezTo>
                <a:lnTo>
                  <a:pt x="4415" y="938"/>
                </a:lnTo>
                <a:cubicBezTo>
                  <a:pt x="4432" y="973"/>
                  <a:pt x="4439" y="1013"/>
                  <a:pt x="4452" y="1049"/>
                </a:cubicBezTo>
                <a:lnTo>
                  <a:pt x="4452" y="1049"/>
                </a:lnTo>
                <a:cubicBezTo>
                  <a:pt x="4495" y="1163"/>
                  <a:pt x="4681" y="1171"/>
                  <a:pt x="4681" y="1171"/>
                </a:cubicBezTo>
                <a:lnTo>
                  <a:pt x="4682" y="1177"/>
                </a:lnTo>
                <a:lnTo>
                  <a:pt x="4682" y="1177"/>
                </a:lnTo>
                <a:cubicBezTo>
                  <a:pt x="4672" y="1185"/>
                  <a:pt x="4662" y="1194"/>
                  <a:pt x="4652" y="1204"/>
                </a:cubicBezTo>
                <a:lnTo>
                  <a:pt x="4661" y="1224"/>
                </a:lnTo>
                <a:lnTo>
                  <a:pt x="4661" y="1224"/>
                </a:lnTo>
                <a:cubicBezTo>
                  <a:pt x="4623" y="1254"/>
                  <a:pt x="4591" y="1293"/>
                  <a:pt x="4571" y="1344"/>
                </a:cubicBezTo>
                <a:lnTo>
                  <a:pt x="4785" y="2085"/>
                </a:lnTo>
                <a:lnTo>
                  <a:pt x="4785" y="2085"/>
                </a:lnTo>
                <a:cubicBezTo>
                  <a:pt x="4783" y="2079"/>
                  <a:pt x="4781" y="2074"/>
                  <a:pt x="4779" y="2068"/>
                </a:cubicBezTo>
                <a:lnTo>
                  <a:pt x="4779" y="2068"/>
                </a:lnTo>
                <a:cubicBezTo>
                  <a:pt x="4782" y="2081"/>
                  <a:pt x="4786" y="2093"/>
                  <a:pt x="4789" y="2104"/>
                </a:cubicBezTo>
                <a:lnTo>
                  <a:pt x="4789" y="2104"/>
                </a:lnTo>
                <a:cubicBezTo>
                  <a:pt x="4790" y="2110"/>
                  <a:pt x="4792" y="2116"/>
                  <a:pt x="4794" y="2122"/>
                </a:cubicBezTo>
                <a:lnTo>
                  <a:pt x="4794" y="2122"/>
                </a:lnTo>
                <a:cubicBezTo>
                  <a:pt x="4797" y="2133"/>
                  <a:pt x="4803" y="2152"/>
                  <a:pt x="4805" y="2160"/>
                </a:cubicBezTo>
                <a:lnTo>
                  <a:pt x="4805" y="2160"/>
                </a:lnTo>
                <a:cubicBezTo>
                  <a:pt x="4810" y="2177"/>
                  <a:pt x="4814" y="2193"/>
                  <a:pt x="4819" y="2209"/>
                </a:cubicBezTo>
                <a:lnTo>
                  <a:pt x="4819" y="2209"/>
                </a:lnTo>
                <a:cubicBezTo>
                  <a:pt x="4820" y="2210"/>
                  <a:pt x="4823" y="2221"/>
                  <a:pt x="4823" y="2223"/>
                </a:cubicBezTo>
                <a:lnTo>
                  <a:pt x="4823" y="2223"/>
                </a:lnTo>
                <a:cubicBezTo>
                  <a:pt x="4826" y="2233"/>
                  <a:pt x="4829" y="2243"/>
                  <a:pt x="4831" y="2251"/>
                </a:cubicBezTo>
                <a:lnTo>
                  <a:pt x="4831" y="2251"/>
                </a:lnTo>
                <a:cubicBezTo>
                  <a:pt x="4832" y="2251"/>
                  <a:pt x="4834" y="2260"/>
                  <a:pt x="4834" y="2261"/>
                </a:cubicBezTo>
                <a:lnTo>
                  <a:pt x="4834" y="2261"/>
                </a:lnTo>
                <a:cubicBezTo>
                  <a:pt x="4837" y="2272"/>
                  <a:pt x="4839" y="2279"/>
                  <a:pt x="4839" y="2279"/>
                </a:cubicBezTo>
                <a:lnTo>
                  <a:pt x="4839" y="2279"/>
                </a:lnTo>
                <a:cubicBezTo>
                  <a:pt x="4837" y="2284"/>
                  <a:pt x="4834" y="2288"/>
                  <a:pt x="4830" y="2291"/>
                </a:cubicBezTo>
                <a:lnTo>
                  <a:pt x="4830" y="2291"/>
                </a:lnTo>
                <a:cubicBezTo>
                  <a:pt x="4827" y="2295"/>
                  <a:pt x="4823" y="2298"/>
                  <a:pt x="4819" y="2301"/>
                </a:cubicBezTo>
                <a:lnTo>
                  <a:pt x="4819" y="2301"/>
                </a:lnTo>
                <a:cubicBezTo>
                  <a:pt x="4818" y="2301"/>
                  <a:pt x="4816" y="2302"/>
                  <a:pt x="4815" y="2303"/>
                </a:cubicBezTo>
                <a:lnTo>
                  <a:pt x="4815" y="2303"/>
                </a:lnTo>
                <a:cubicBezTo>
                  <a:pt x="4814" y="2303"/>
                  <a:pt x="4814" y="2304"/>
                  <a:pt x="4814" y="2304"/>
                </a:cubicBezTo>
                <a:lnTo>
                  <a:pt x="4814" y="2304"/>
                </a:lnTo>
                <a:cubicBezTo>
                  <a:pt x="4766" y="2329"/>
                  <a:pt x="4678" y="2319"/>
                  <a:pt x="4640" y="2318"/>
                </a:cubicBezTo>
                <a:lnTo>
                  <a:pt x="4640" y="2318"/>
                </a:lnTo>
                <a:cubicBezTo>
                  <a:pt x="4513" y="2313"/>
                  <a:pt x="4385" y="2294"/>
                  <a:pt x="4258" y="2277"/>
                </a:cubicBezTo>
                <a:lnTo>
                  <a:pt x="4258" y="2277"/>
                </a:lnTo>
                <a:cubicBezTo>
                  <a:pt x="4099" y="2257"/>
                  <a:pt x="3959" y="2223"/>
                  <a:pt x="3779" y="2203"/>
                </a:cubicBezTo>
                <a:lnTo>
                  <a:pt x="3779" y="2203"/>
                </a:lnTo>
                <a:cubicBezTo>
                  <a:pt x="3718" y="2183"/>
                  <a:pt x="3638" y="2164"/>
                  <a:pt x="3561" y="2151"/>
                </a:cubicBezTo>
                <a:lnTo>
                  <a:pt x="3561" y="2151"/>
                </a:lnTo>
                <a:cubicBezTo>
                  <a:pt x="3515" y="2126"/>
                  <a:pt x="3344" y="2039"/>
                  <a:pt x="3279" y="2068"/>
                </a:cubicBezTo>
                <a:lnTo>
                  <a:pt x="3279" y="2068"/>
                </a:lnTo>
                <a:cubicBezTo>
                  <a:pt x="3279" y="2069"/>
                  <a:pt x="3278" y="2069"/>
                  <a:pt x="3278" y="2069"/>
                </a:cubicBezTo>
                <a:lnTo>
                  <a:pt x="3278" y="2069"/>
                </a:lnTo>
                <a:cubicBezTo>
                  <a:pt x="3277" y="2072"/>
                  <a:pt x="3281" y="2076"/>
                  <a:pt x="3285" y="2083"/>
                </a:cubicBezTo>
                <a:lnTo>
                  <a:pt x="3285" y="2083"/>
                </a:lnTo>
                <a:cubicBezTo>
                  <a:pt x="3257" y="2063"/>
                  <a:pt x="3236" y="2056"/>
                  <a:pt x="3236" y="2056"/>
                </a:cubicBezTo>
                <a:lnTo>
                  <a:pt x="3236" y="2056"/>
                </a:lnTo>
                <a:cubicBezTo>
                  <a:pt x="3212" y="2037"/>
                  <a:pt x="3200" y="2053"/>
                  <a:pt x="3198" y="2055"/>
                </a:cubicBezTo>
                <a:lnTo>
                  <a:pt x="3198" y="2055"/>
                </a:lnTo>
                <a:cubicBezTo>
                  <a:pt x="3196" y="2054"/>
                  <a:pt x="3195" y="2053"/>
                  <a:pt x="3193" y="2053"/>
                </a:cubicBezTo>
                <a:lnTo>
                  <a:pt x="3193" y="2053"/>
                </a:lnTo>
                <a:cubicBezTo>
                  <a:pt x="3198" y="2054"/>
                  <a:pt x="3195" y="2069"/>
                  <a:pt x="3189" y="2086"/>
                </a:cubicBezTo>
                <a:lnTo>
                  <a:pt x="3195" y="1990"/>
                </a:lnTo>
                <a:lnTo>
                  <a:pt x="3195" y="1990"/>
                </a:lnTo>
                <a:cubicBezTo>
                  <a:pt x="3434" y="1926"/>
                  <a:pt x="3605" y="1782"/>
                  <a:pt x="3660" y="1598"/>
                </a:cubicBezTo>
                <a:lnTo>
                  <a:pt x="3660" y="1598"/>
                </a:lnTo>
                <a:cubicBezTo>
                  <a:pt x="3660" y="1598"/>
                  <a:pt x="3830" y="1597"/>
                  <a:pt x="3877" y="1412"/>
                </a:cubicBezTo>
                <a:lnTo>
                  <a:pt x="3877" y="1412"/>
                </a:lnTo>
                <a:cubicBezTo>
                  <a:pt x="3878" y="1407"/>
                  <a:pt x="3880" y="1402"/>
                  <a:pt x="3881" y="1397"/>
                </a:cubicBezTo>
                <a:lnTo>
                  <a:pt x="3881" y="1397"/>
                </a:lnTo>
                <a:cubicBezTo>
                  <a:pt x="3881" y="1396"/>
                  <a:pt x="3881" y="1394"/>
                  <a:pt x="3881" y="1393"/>
                </a:cubicBezTo>
                <a:lnTo>
                  <a:pt x="3881" y="1393"/>
                </a:lnTo>
                <a:cubicBezTo>
                  <a:pt x="3882" y="1389"/>
                  <a:pt x="3882" y="1386"/>
                  <a:pt x="3883" y="1382"/>
                </a:cubicBezTo>
                <a:lnTo>
                  <a:pt x="3883" y="1382"/>
                </a:lnTo>
                <a:cubicBezTo>
                  <a:pt x="3883" y="1380"/>
                  <a:pt x="3883" y="1379"/>
                  <a:pt x="3884" y="1378"/>
                </a:cubicBezTo>
                <a:lnTo>
                  <a:pt x="3884" y="1378"/>
                </a:lnTo>
                <a:cubicBezTo>
                  <a:pt x="3885" y="1368"/>
                  <a:pt x="3885" y="1358"/>
                  <a:pt x="3885" y="1349"/>
                </a:cubicBezTo>
                <a:lnTo>
                  <a:pt x="3885" y="1349"/>
                </a:lnTo>
                <a:cubicBezTo>
                  <a:pt x="3885" y="1348"/>
                  <a:pt x="3885" y="1347"/>
                  <a:pt x="3885" y="1346"/>
                </a:cubicBezTo>
                <a:lnTo>
                  <a:pt x="3885" y="1346"/>
                </a:lnTo>
                <a:cubicBezTo>
                  <a:pt x="3885" y="1342"/>
                  <a:pt x="3885" y="1338"/>
                  <a:pt x="3885" y="1333"/>
                </a:cubicBezTo>
                <a:lnTo>
                  <a:pt x="3885" y="1333"/>
                </a:lnTo>
                <a:cubicBezTo>
                  <a:pt x="3885" y="1332"/>
                  <a:pt x="3885" y="1332"/>
                  <a:pt x="3885" y="1331"/>
                </a:cubicBezTo>
                <a:lnTo>
                  <a:pt x="3885" y="1331"/>
                </a:lnTo>
                <a:cubicBezTo>
                  <a:pt x="3882" y="1271"/>
                  <a:pt x="3859" y="1217"/>
                  <a:pt x="3826" y="1180"/>
                </a:cubicBezTo>
                <a:lnTo>
                  <a:pt x="3826" y="1180"/>
                </a:lnTo>
                <a:cubicBezTo>
                  <a:pt x="3838" y="1189"/>
                  <a:pt x="3845" y="1197"/>
                  <a:pt x="3845" y="1197"/>
                </a:cubicBezTo>
                <a:lnTo>
                  <a:pt x="3845" y="1197"/>
                </a:lnTo>
                <a:cubicBezTo>
                  <a:pt x="3850" y="1189"/>
                  <a:pt x="3854" y="1181"/>
                  <a:pt x="3857" y="1173"/>
                </a:cubicBezTo>
                <a:lnTo>
                  <a:pt x="3857" y="1173"/>
                </a:lnTo>
                <a:cubicBezTo>
                  <a:pt x="3858" y="1170"/>
                  <a:pt x="3860" y="1168"/>
                  <a:pt x="3861" y="1165"/>
                </a:cubicBezTo>
                <a:lnTo>
                  <a:pt x="3861" y="1165"/>
                </a:lnTo>
                <a:cubicBezTo>
                  <a:pt x="3863" y="1160"/>
                  <a:pt x="3866" y="1154"/>
                  <a:pt x="3868" y="1149"/>
                </a:cubicBezTo>
                <a:lnTo>
                  <a:pt x="3868" y="1149"/>
                </a:lnTo>
                <a:cubicBezTo>
                  <a:pt x="3870" y="1147"/>
                  <a:pt x="3871" y="1144"/>
                  <a:pt x="3872" y="1141"/>
                </a:cubicBezTo>
                <a:lnTo>
                  <a:pt x="3872" y="1141"/>
                </a:lnTo>
                <a:cubicBezTo>
                  <a:pt x="3874" y="1136"/>
                  <a:pt x="3877" y="1131"/>
                  <a:pt x="3878" y="1126"/>
                </a:cubicBezTo>
                <a:lnTo>
                  <a:pt x="3878" y="1126"/>
                </a:lnTo>
                <a:cubicBezTo>
                  <a:pt x="3880" y="1123"/>
                  <a:pt x="3881" y="1121"/>
                  <a:pt x="3882" y="1118"/>
                </a:cubicBezTo>
                <a:lnTo>
                  <a:pt x="3882" y="1118"/>
                </a:lnTo>
                <a:cubicBezTo>
                  <a:pt x="3884" y="1112"/>
                  <a:pt x="3887" y="1106"/>
                  <a:pt x="3890" y="1099"/>
                </a:cubicBezTo>
                <a:lnTo>
                  <a:pt x="3890" y="1099"/>
                </a:lnTo>
                <a:cubicBezTo>
                  <a:pt x="3890" y="1099"/>
                  <a:pt x="3890" y="1097"/>
                  <a:pt x="3891" y="1096"/>
                </a:cubicBezTo>
                <a:lnTo>
                  <a:pt x="3891" y="1096"/>
                </a:lnTo>
                <a:cubicBezTo>
                  <a:pt x="3893" y="1089"/>
                  <a:pt x="3896" y="1082"/>
                  <a:pt x="3898" y="1075"/>
                </a:cubicBezTo>
                <a:lnTo>
                  <a:pt x="3898" y="1075"/>
                </a:lnTo>
                <a:cubicBezTo>
                  <a:pt x="3899" y="1073"/>
                  <a:pt x="3900" y="1072"/>
                  <a:pt x="3900" y="1070"/>
                </a:cubicBezTo>
                <a:lnTo>
                  <a:pt x="3900" y="1070"/>
                </a:lnTo>
                <a:cubicBezTo>
                  <a:pt x="3902" y="1064"/>
                  <a:pt x="3904" y="1059"/>
                  <a:pt x="3905" y="1054"/>
                </a:cubicBezTo>
                <a:lnTo>
                  <a:pt x="3905" y="1054"/>
                </a:lnTo>
                <a:cubicBezTo>
                  <a:pt x="3907" y="1052"/>
                  <a:pt x="3907" y="1051"/>
                  <a:pt x="3908" y="1048"/>
                </a:cubicBezTo>
                <a:lnTo>
                  <a:pt x="3908" y="1048"/>
                </a:lnTo>
                <a:cubicBezTo>
                  <a:pt x="3910" y="1043"/>
                  <a:pt x="3911" y="1039"/>
                  <a:pt x="3912" y="1034"/>
                </a:cubicBezTo>
                <a:lnTo>
                  <a:pt x="3912" y="1034"/>
                </a:lnTo>
                <a:cubicBezTo>
                  <a:pt x="3913" y="1032"/>
                  <a:pt x="3913" y="1030"/>
                  <a:pt x="3914" y="1028"/>
                </a:cubicBezTo>
                <a:lnTo>
                  <a:pt x="3914" y="1028"/>
                </a:lnTo>
                <a:cubicBezTo>
                  <a:pt x="3916" y="1023"/>
                  <a:pt x="3917" y="1018"/>
                  <a:pt x="3919" y="1013"/>
                </a:cubicBezTo>
                <a:lnTo>
                  <a:pt x="3919" y="1013"/>
                </a:lnTo>
                <a:cubicBezTo>
                  <a:pt x="3919" y="1012"/>
                  <a:pt x="3920" y="1011"/>
                  <a:pt x="3920" y="1009"/>
                </a:cubicBezTo>
                <a:lnTo>
                  <a:pt x="3920" y="1009"/>
                </a:lnTo>
                <a:cubicBezTo>
                  <a:pt x="3921" y="1003"/>
                  <a:pt x="3923" y="997"/>
                  <a:pt x="3925" y="991"/>
                </a:cubicBezTo>
                <a:lnTo>
                  <a:pt x="3925" y="991"/>
                </a:lnTo>
                <a:cubicBezTo>
                  <a:pt x="3925" y="990"/>
                  <a:pt x="3925" y="989"/>
                  <a:pt x="3925" y="988"/>
                </a:cubicBezTo>
                <a:lnTo>
                  <a:pt x="3925" y="988"/>
                </a:lnTo>
                <a:cubicBezTo>
                  <a:pt x="3927" y="983"/>
                  <a:pt x="3928" y="978"/>
                  <a:pt x="3929" y="973"/>
                </a:cubicBezTo>
                <a:lnTo>
                  <a:pt x="3929" y="973"/>
                </a:lnTo>
                <a:cubicBezTo>
                  <a:pt x="3930" y="972"/>
                  <a:pt x="3930" y="970"/>
                  <a:pt x="3930" y="969"/>
                </a:cubicBezTo>
                <a:lnTo>
                  <a:pt x="3930" y="969"/>
                </a:lnTo>
                <a:cubicBezTo>
                  <a:pt x="3931" y="965"/>
                  <a:pt x="3932" y="961"/>
                  <a:pt x="3932" y="956"/>
                </a:cubicBezTo>
                <a:lnTo>
                  <a:pt x="3932" y="956"/>
                </a:lnTo>
                <a:cubicBezTo>
                  <a:pt x="3933" y="955"/>
                  <a:pt x="3933" y="953"/>
                  <a:pt x="3933" y="952"/>
                </a:cubicBezTo>
                <a:lnTo>
                  <a:pt x="3933" y="952"/>
                </a:lnTo>
                <a:cubicBezTo>
                  <a:pt x="3934" y="948"/>
                  <a:pt x="3935" y="943"/>
                  <a:pt x="3936" y="940"/>
                </a:cubicBezTo>
                <a:lnTo>
                  <a:pt x="3936" y="940"/>
                </a:lnTo>
                <a:cubicBezTo>
                  <a:pt x="3936" y="938"/>
                  <a:pt x="3936" y="937"/>
                  <a:pt x="3937" y="936"/>
                </a:cubicBezTo>
                <a:lnTo>
                  <a:pt x="3937" y="936"/>
                </a:lnTo>
                <a:cubicBezTo>
                  <a:pt x="3937" y="931"/>
                  <a:pt x="3938" y="925"/>
                  <a:pt x="3939" y="921"/>
                </a:cubicBezTo>
                <a:lnTo>
                  <a:pt x="3939" y="921"/>
                </a:lnTo>
                <a:cubicBezTo>
                  <a:pt x="3939" y="920"/>
                  <a:pt x="3939" y="920"/>
                  <a:pt x="3939" y="920"/>
                </a:cubicBezTo>
                <a:lnTo>
                  <a:pt x="3939" y="920"/>
                </a:lnTo>
                <a:cubicBezTo>
                  <a:pt x="3940" y="915"/>
                  <a:pt x="3940" y="911"/>
                  <a:pt x="3941" y="907"/>
                </a:cubicBezTo>
                <a:lnTo>
                  <a:pt x="3941" y="907"/>
                </a:lnTo>
                <a:cubicBezTo>
                  <a:pt x="3941" y="905"/>
                  <a:pt x="3941" y="903"/>
                  <a:pt x="3941" y="902"/>
                </a:cubicBezTo>
                <a:lnTo>
                  <a:pt x="3941" y="902"/>
                </a:lnTo>
                <a:cubicBezTo>
                  <a:pt x="3941" y="899"/>
                  <a:pt x="3942" y="896"/>
                  <a:pt x="3942" y="892"/>
                </a:cubicBezTo>
                <a:lnTo>
                  <a:pt x="3942" y="892"/>
                </a:lnTo>
                <a:cubicBezTo>
                  <a:pt x="3942" y="891"/>
                  <a:pt x="3942" y="890"/>
                  <a:pt x="3942" y="888"/>
                </a:cubicBezTo>
                <a:lnTo>
                  <a:pt x="3942" y="888"/>
                </a:lnTo>
                <a:cubicBezTo>
                  <a:pt x="3943" y="885"/>
                  <a:pt x="3943" y="882"/>
                  <a:pt x="3943" y="880"/>
                </a:cubicBezTo>
                <a:lnTo>
                  <a:pt x="3943" y="880"/>
                </a:lnTo>
                <a:cubicBezTo>
                  <a:pt x="3943" y="878"/>
                  <a:pt x="3943" y="877"/>
                  <a:pt x="3943" y="876"/>
                </a:cubicBezTo>
                <a:lnTo>
                  <a:pt x="3943" y="876"/>
                </a:lnTo>
                <a:cubicBezTo>
                  <a:pt x="3944" y="868"/>
                  <a:pt x="3944" y="860"/>
                  <a:pt x="3944" y="853"/>
                </a:cubicBezTo>
                <a:lnTo>
                  <a:pt x="3944" y="853"/>
                </a:lnTo>
                <a:cubicBezTo>
                  <a:pt x="3944" y="852"/>
                  <a:pt x="3944" y="851"/>
                  <a:pt x="3944" y="850"/>
                </a:cubicBezTo>
                <a:lnTo>
                  <a:pt x="3944" y="850"/>
                </a:lnTo>
                <a:cubicBezTo>
                  <a:pt x="3944" y="847"/>
                  <a:pt x="3944" y="845"/>
                  <a:pt x="3944" y="842"/>
                </a:cubicBezTo>
                <a:lnTo>
                  <a:pt x="3944" y="842"/>
                </a:lnTo>
                <a:cubicBezTo>
                  <a:pt x="3944" y="841"/>
                  <a:pt x="3944" y="840"/>
                  <a:pt x="3944" y="839"/>
                </a:cubicBezTo>
                <a:lnTo>
                  <a:pt x="3944" y="839"/>
                </a:lnTo>
                <a:cubicBezTo>
                  <a:pt x="3944" y="837"/>
                  <a:pt x="3944" y="835"/>
                  <a:pt x="3944" y="833"/>
                </a:cubicBezTo>
                <a:lnTo>
                  <a:pt x="3944" y="833"/>
                </a:lnTo>
                <a:cubicBezTo>
                  <a:pt x="3943" y="831"/>
                  <a:pt x="3943" y="830"/>
                  <a:pt x="3943" y="829"/>
                </a:cubicBezTo>
                <a:lnTo>
                  <a:pt x="3943" y="829"/>
                </a:lnTo>
                <a:cubicBezTo>
                  <a:pt x="3943" y="827"/>
                  <a:pt x="3943" y="826"/>
                  <a:pt x="3943" y="824"/>
                </a:cubicBezTo>
                <a:lnTo>
                  <a:pt x="3943" y="824"/>
                </a:lnTo>
                <a:cubicBezTo>
                  <a:pt x="3943" y="822"/>
                  <a:pt x="3943" y="821"/>
                  <a:pt x="3943" y="820"/>
                </a:cubicBezTo>
                <a:lnTo>
                  <a:pt x="3943" y="820"/>
                </a:lnTo>
                <a:cubicBezTo>
                  <a:pt x="3943" y="818"/>
                  <a:pt x="3943" y="816"/>
                  <a:pt x="3942" y="813"/>
                </a:cubicBezTo>
                <a:lnTo>
                  <a:pt x="3942" y="813"/>
                </a:lnTo>
                <a:cubicBezTo>
                  <a:pt x="3942" y="812"/>
                  <a:pt x="3942" y="810"/>
                  <a:pt x="3942" y="809"/>
                </a:cubicBezTo>
                <a:lnTo>
                  <a:pt x="3942" y="809"/>
                </a:lnTo>
                <a:cubicBezTo>
                  <a:pt x="3942" y="808"/>
                  <a:pt x="3942" y="807"/>
                  <a:pt x="3942" y="806"/>
                </a:cubicBezTo>
                <a:lnTo>
                  <a:pt x="3942" y="806"/>
                </a:lnTo>
                <a:cubicBezTo>
                  <a:pt x="3942" y="805"/>
                  <a:pt x="3941" y="803"/>
                  <a:pt x="3941" y="802"/>
                </a:cubicBezTo>
                <a:lnTo>
                  <a:pt x="3941" y="802"/>
                </a:lnTo>
                <a:cubicBezTo>
                  <a:pt x="3941" y="801"/>
                  <a:pt x="3941" y="801"/>
                  <a:pt x="3941" y="800"/>
                </a:cubicBezTo>
                <a:lnTo>
                  <a:pt x="3941" y="800"/>
                </a:lnTo>
                <a:cubicBezTo>
                  <a:pt x="3941" y="799"/>
                  <a:pt x="3941" y="797"/>
                  <a:pt x="3940" y="796"/>
                </a:cubicBezTo>
                <a:lnTo>
                  <a:pt x="3940" y="796"/>
                </a:lnTo>
                <a:lnTo>
                  <a:pt x="3940" y="795"/>
                </a:lnTo>
                <a:lnTo>
                  <a:pt x="3940" y="795"/>
                </a:lnTo>
                <a:cubicBezTo>
                  <a:pt x="3937" y="779"/>
                  <a:pt x="3934" y="771"/>
                  <a:pt x="3934" y="771"/>
                </a:cubicBezTo>
                <a:lnTo>
                  <a:pt x="3934" y="771"/>
                </a:lnTo>
                <a:cubicBezTo>
                  <a:pt x="3917" y="679"/>
                  <a:pt x="3880" y="618"/>
                  <a:pt x="3838" y="579"/>
                </a:cubicBezTo>
                <a:lnTo>
                  <a:pt x="3838" y="579"/>
                </a:lnTo>
                <a:cubicBezTo>
                  <a:pt x="3834" y="575"/>
                  <a:pt x="3831" y="572"/>
                  <a:pt x="3827" y="569"/>
                </a:cubicBezTo>
                <a:lnTo>
                  <a:pt x="3827" y="569"/>
                </a:lnTo>
                <a:cubicBezTo>
                  <a:pt x="3826" y="568"/>
                  <a:pt x="3825" y="567"/>
                  <a:pt x="3824" y="566"/>
                </a:cubicBezTo>
                <a:lnTo>
                  <a:pt x="3824" y="566"/>
                </a:lnTo>
                <a:cubicBezTo>
                  <a:pt x="3821" y="564"/>
                  <a:pt x="3818" y="562"/>
                  <a:pt x="3815" y="559"/>
                </a:cubicBezTo>
                <a:lnTo>
                  <a:pt x="3815" y="559"/>
                </a:lnTo>
                <a:cubicBezTo>
                  <a:pt x="3814" y="559"/>
                  <a:pt x="3813" y="558"/>
                  <a:pt x="3812" y="557"/>
                </a:cubicBezTo>
                <a:lnTo>
                  <a:pt x="3812" y="557"/>
                </a:lnTo>
                <a:cubicBezTo>
                  <a:pt x="3809" y="555"/>
                  <a:pt x="3805" y="552"/>
                  <a:pt x="3801" y="549"/>
                </a:cubicBezTo>
                <a:lnTo>
                  <a:pt x="3801" y="549"/>
                </a:lnTo>
                <a:cubicBezTo>
                  <a:pt x="3800" y="549"/>
                  <a:pt x="3799" y="548"/>
                  <a:pt x="3797" y="547"/>
                </a:cubicBezTo>
                <a:lnTo>
                  <a:pt x="3797" y="547"/>
                </a:lnTo>
                <a:cubicBezTo>
                  <a:pt x="3794" y="545"/>
                  <a:pt x="3791" y="544"/>
                  <a:pt x="3789" y="542"/>
                </a:cubicBezTo>
                <a:lnTo>
                  <a:pt x="3789" y="542"/>
                </a:lnTo>
                <a:cubicBezTo>
                  <a:pt x="3788" y="541"/>
                  <a:pt x="3787" y="541"/>
                  <a:pt x="3786" y="540"/>
                </a:cubicBezTo>
                <a:lnTo>
                  <a:pt x="3786" y="540"/>
                </a:lnTo>
                <a:cubicBezTo>
                  <a:pt x="3781" y="538"/>
                  <a:pt x="3778" y="536"/>
                  <a:pt x="3774" y="534"/>
                </a:cubicBezTo>
                <a:lnTo>
                  <a:pt x="3774" y="534"/>
                </a:lnTo>
                <a:cubicBezTo>
                  <a:pt x="3773" y="534"/>
                  <a:pt x="3772" y="533"/>
                  <a:pt x="3771" y="532"/>
                </a:cubicBezTo>
                <a:lnTo>
                  <a:pt x="3771" y="532"/>
                </a:lnTo>
                <a:cubicBezTo>
                  <a:pt x="3768" y="531"/>
                  <a:pt x="3765" y="530"/>
                  <a:pt x="3763" y="529"/>
                </a:cubicBezTo>
                <a:lnTo>
                  <a:pt x="3763" y="529"/>
                </a:lnTo>
                <a:cubicBezTo>
                  <a:pt x="3761" y="528"/>
                  <a:pt x="3760" y="528"/>
                  <a:pt x="3759" y="527"/>
                </a:cubicBezTo>
                <a:lnTo>
                  <a:pt x="3759" y="527"/>
                </a:lnTo>
                <a:cubicBezTo>
                  <a:pt x="3755" y="525"/>
                  <a:pt x="3751" y="524"/>
                  <a:pt x="3748" y="523"/>
                </a:cubicBezTo>
                <a:lnTo>
                  <a:pt x="3748" y="523"/>
                </a:lnTo>
                <a:cubicBezTo>
                  <a:pt x="3747" y="522"/>
                  <a:pt x="3746" y="522"/>
                  <a:pt x="3744" y="522"/>
                </a:cubicBezTo>
                <a:lnTo>
                  <a:pt x="3744" y="522"/>
                </a:lnTo>
                <a:cubicBezTo>
                  <a:pt x="3742" y="521"/>
                  <a:pt x="3739" y="520"/>
                  <a:pt x="3737" y="519"/>
                </a:cubicBezTo>
                <a:lnTo>
                  <a:pt x="3737" y="519"/>
                </a:lnTo>
                <a:cubicBezTo>
                  <a:pt x="3736" y="518"/>
                  <a:pt x="3734" y="518"/>
                  <a:pt x="3733" y="518"/>
                </a:cubicBezTo>
                <a:lnTo>
                  <a:pt x="3733" y="518"/>
                </a:lnTo>
                <a:cubicBezTo>
                  <a:pt x="3729" y="517"/>
                  <a:pt x="3726" y="515"/>
                  <a:pt x="3723" y="515"/>
                </a:cubicBezTo>
                <a:lnTo>
                  <a:pt x="3723" y="515"/>
                </a:lnTo>
                <a:cubicBezTo>
                  <a:pt x="3721" y="514"/>
                  <a:pt x="3721" y="514"/>
                  <a:pt x="3720" y="514"/>
                </a:cubicBezTo>
                <a:lnTo>
                  <a:pt x="3720" y="514"/>
                </a:lnTo>
                <a:cubicBezTo>
                  <a:pt x="3717" y="513"/>
                  <a:pt x="3715" y="513"/>
                  <a:pt x="3712" y="512"/>
                </a:cubicBezTo>
                <a:lnTo>
                  <a:pt x="3712" y="512"/>
                </a:lnTo>
                <a:cubicBezTo>
                  <a:pt x="3711" y="512"/>
                  <a:pt x="3710" y="511"/>
                  <a:pt x="3709" y="511"/>
                </a:cubicBezTo>
                <a:lnTo>
                  <a:pt x="3709" y="511"/>
                </a:lnTo>
                <a:cubicBezTo>
                  <a:pt x="3706" y="511"/>
                  <a:pt x="3703" y="510"/>
                  <a:pt x="3700" y="509"/>
                </a:cubicBezTo>
                <a:lnTo>
                  <a:pt x="3700" y="509"/>
                </a:lnTo>
                <a:cubicBezTo>
                  <a:pt x="3699" y="509"/>
                  <a:pt x="3699" y="509"/>
                  <a:pt x="3697" y="509"/>
                </a:cubicBezTo>
                <a:lnTo>
                  <a:pt x="3697" y="509"/>
                </a:lnTo>
                <a:cubicBezTo>
                  <a:pt x="3695" y="508"/>
                  <a:pt x="3692" y="508"/>
                  <a:pt x="3689" y="508"/>
                </a:cubicBezTo>
                <a:lnTo>
                  <a:pt x="3689" y="508"/>
                </a:lnTo>
                <a:cubicBezTo>
                  <a:pt x="3688" y="507"/>
                  <a:pt x="3687" y="507"/>
                  <a:pt x="3686" y="507"/>
                </a:cubicBezTo>
                <a:lnTo>
                  <a:pt x="3686" y="507"/>
                </a:lnTo>
                <a:cubicBezTo>
                  <a:pt x="3684" y="507"/>
                  <a:pt x="3682" y="507"/>
                  <a:pt x="3679" y="506"/>
                </a:cubicBezTo>
                <a:lnTo>
                  <a:pt x="3679" y="506"/>
                </a:lnTo>
                <a:cubicBezTo>
                  <a:pt x="3679" y="506"/>
                  <a:pt x="3678" y="506"/>
                  <a:pt x="3677" y="506"/>
                </a:cubicBezTo>
                <a:lnTo>
                  <a:pt x="3677" y="506"/>
                </a:lnTo>
                <a:cubicBezTo>
                  <a:pt x="3675" y="505"/>
                  <a:pt x="3672" y="505"/>
                  <a:pt x="3669" y="505"/>
                </a:cubicBezTo>
                <a:lnTo>
                  <a:pt x="3669" y="505"/>
                </a:lnTo>
                <a:cubicBezTo>
                  <a:pt x="3668" y="505"/>
                  <a:pt x="3668" y="505"/>
                  <a:pt x="3666" y="505"/>
                </a:cubicBezTo>
                <a:lnTo>
                  <a:pt x="3666" y="505"/>
                </a:lnTo>
                <a:cubicBezTo>
                  <a:pt x="3665" y="505"/>
                  <a:pt x="3663" y="505"/>
                  <a:pt x="3661" y="505"/>
                </a:cubicBezTo>
                <a:lnTo>
                  <a:pt x="3661" y="505"/>
                </a:lnTo>
                <a:cubicBezTo>
                  <a:pt x="3660" y="505"/>
                  <a:pt x="3660" y="504"/>
                  <a:pt x="3659" y="504"/>
                </a:cubicBezTo>
                <a:lnTo>
                  <a:pt x="3659" y="504"/>
                </a:lnTo>
                <a:cubicBezTo>
                  <a:pt x="3656" y="504"/>
                  <a:pt x="3655" y="504"/>
                  <a:pt x="3652" y="504"/>
                </a:cubicBezTo>
                <a:lnTo>
                  <a:pt x="3652" y="504"/>
                </a:lnTo>
                <a:cubicBezTo>
                  <a:pt x="3652" y="504"/>
                  <a:pt x="3651" y="504"/>
                  <a:pt x="3650" y="504"/>
                </a:cubicBezTo>
                <a:lnTo>
                  <a:pt x="3650" y="504"/>
                </a:lnTo>
                <a:cubicBezTo>
                  <a:pt x="3649" y="504"/>
                  <a:pt x="3648" y="504"/>
                  <a:pt x="3646" y="504"/>
                </a:cubicBezTo>
                <a:lnTo>
                  <a:pt x="3646" y="504"/>
                </a:lnTo>
                <a:cubicBezTo>
                  <a:pt x="3645" y="504"/>
                  <a:pt x="3645" y="504"/>
                  <a:pt x="3644" y="504"/>
                </a:cubicBezTo>
                <a:lnTo>
                  <a:pt x="3644" y="504"/>
                </a:lnTo>
                <a:cubicBezTo>
                  <a:pt x="3643" y="504"/>
                  <a:pt x="3641" y="504"/>
                  <a:pt x="3639" y="504"/>
                </a:cubicBezTo>
                <a:lnTo>
                  <a:pt x="3639" y="504"/>
                </a:lnTo>
                <a:cubicBezTo>
                  <a:pt x="3639" y="504"/>
                  <a:pt x="3639" y="504"/>
                  <a:pt x="3638" y="504"/>
                </a:cubicBezTo>
                <a:lnTo>
                  <a:pt x="3638" y="504"/>
                </a:lnTo>
                <a:cubicBezTo>
                  <a:pt x="3637" y="504"/>
                  <a:pt x="3636" y="504"/>
                  <a:pt x="3635" y="504"/>
                </a:cubicBezTo>
                <a:lnTo>
                  <a:pt x="3635" y="504"/>
                </a:lnTo>
                <a:cubicBezTo>
                  <a:pt x="3635" y="504"/>
                  <a:pt x="3635" y="504"/>
                  <a:pt x="3634" y="504"/>
                </a:cubicBezTo>
                <a:lnTo>
                  <a:pt x="3634" y="504"/>
                </a:lnTo>
                <a:cubicBezTo>
                  <a:pt x="3633" y="504"/>
                  <a:pt x="3632" y="504"/>
                  <a:pt x="3631" y="504"/>
                </a:cubicBezTo>
                <a:lnTo>
                  <a:pt x="3631" y="504"/>
                </a:lnTo>
                <a:cubicBezTo>
                  <a:pt x="3631" y="505"/>
                  <a:pt x="3631" y="505"/>
                  <a:pt x="3630" y="505"/>
                </a:cubicBezTo>
                <a:lnTo>
                  <a:pt x="3630" y="505"/>
                </a:lnTo>
                <a:lnTo>
                  <a:pt x="3629" y="505"/>
                </a:lnTo>
                <a:lnTo>
                  <a:pt x="3629" y="505"/>
                </a:lnTo>
                <a:lnTo>
                  <a:pt x="3629" y="505"/>
                </a:lnTo>
                <a:lnTo>
                  <a:pt x="3629" y="505"/>
                </a:lnTo>
                <a:lnTo>
                  <a:pt x="3628" y="505"/>
                </a:lnTo>
                <a:lnTo>
                  <a:pt x="3628" y="505"/>
                </a:lnTo>
                <a:cubicBezTo>
                  <a:pt x="3628" y="497"/>
                  <a:pt x="3626" y="489"/>
                  <a:pt x="3625" y="481"/>
                </a:cubicBezTo>
                <a:lnTo>
                  <a:pt x="3625" y="481"/>
                </a:lnTo>
                <a:cubicBezTo>
                  <a:pt x="3625" y="479"/>
                  <a:pt x="3624" y="477"/>
                  <a:pt x="3624" y="474"/>
                </a:cubicBezTo>
                <a:lnTo>
                  <a:pt x="3624" y="474"/>
                </a:lnTo>
                <a:cubicBezTo>
                  <a:pt x="3623" y="469"/>
                  <a:pt x="3622" y="464"/>
                  <a:pt x="3620" y="459"/>
                </a:cubicBezTo>
                <a:lnTo>
                  <a:pt x="3620" y="459"/>
                </a:lnTo>
                <a:cubicBezTo>
                  <a:pt x="3620" y="457"/>
                  <a:pt x="3620" y="456"/>
                  <a:pt x="3620" y="455"/>
                </a:cubicBezTo>
                <a:lnTo>
                  <a:pt x="3620" y="455"/>
                </a:lnTo>
                <a:cubicBezTo>
                  <a:pt x="3618" y="449"/>
                  <a:pt x="3617" y="443"/>
                  <a:pt x="3616" y="437"/>
                </a:cubicBezTo>
                <a:lnTo>
                  <a:pt x="3616" y="437"/>
                </a:lnTo>
                <a:cubicBezTo>
                  <a:pt x="3616" y="437"/>
                  <a:pt x="3615" y="437"/>
                  <a:pt x="3615" y="436"/>
                </a:cubicBezTo>
                <a:lnTo>
                  <a:pt x="3615" y="436"/>
                </a:lnTo>
                <a:cubicBezTo>
                  <a:pt x="3505" y="11"/>
                  <a:pt x="2940" y="176"/>
                  <a:pt x="2851" y="188"/>
                </a:cubicBezTo>
                <a:lnTo>
                  <a:pt x="2851" y="188"/>
                </a:lnTo>
                <a:cubicBezTo>
                  <a:pt x="2833" y="191"/>
                  <a:pt x="2812" y="187"/>
                  <a:pt x="2790" y="179"/>
                </a:cubicBezTo>
                <a:lnTo>
                  <a:pt x="2790" y="179"/>
                </a:lnTo>
                <a:lnTo>
                  <a:pt x="2790" y="179"/>
                </a:lnTo>
                <a:lnTo>
                  <a:pt x="2790" y="179"/>
                </a:lnTo>
                <a:cubicBezTo>
                  <a:pt x="2708" y="150"/>
                  <a:pt x="2617" y="65"/>
                  <a:pt x="2606" y="54"/>
                </a:cubicBezTo>
                <a:lnTo>
                  <a:pt x="2606" y="54"/>
                </a:lnTo>
                <a:lnTo>
                  <a:pt x="2606" y="54"/>
                </a:lnTo>
                <a:lnTo>
                  <a:pt x="2606" y="54"/>
                </a:lnTo>
                <a:cubicBezTo>
                  <a:pt x="2606" y="53"/>
                  <a:pt x="2605" y="52"/>
                  <a:pt x="2605" y="52"/>
                </a:cubicBezTo>
                <a:lnTo>
                  <a:pt x="2591" y="166"/>
                </a:lnTo>
                <a:lnTo>
                  <a:pt x="2591" y="166"/>
                </a:lnTo>
                <a:cubicBezTo>
                  <a:pt x="2558" y="126"/>
                  <a:pt x="2546" y="0"/>
                  <a:pt x="2546" y="0"/>
                </a:cubicBezTo>
                <a:lnTo>
                  <a:pt x="2546" y="0"/>
                </a:lnTo>
                <a:cubicBezTo>
                  <a:pt x="2445" y="39"/>
                  <a:pt x="2410" y="265"/>
                  <a:pt x="2410" y="265"/>
                </a:cubicBezTo>
                <a:lnTo>
                  <a:pt x="2410" y="265"/>
                </a:lnTo>
                <a:cubicBezTo>
                  <a:pt x="2364" y="218"/>
                  <a:pt x="2364" y="145"/>
                  <a:pt x="2364" y="145"/>
                </a:cubicBezTo>
                <a:lnTo>
                  <a:pt x="2364" y="145"/>
                </a:lnTo>
                <a:cubicBezTo>
                  <a:pt x="2364" y="145"/>
                  <a:pt x="2209" y="317"/>
                  <a:pt x="2315" y="491"/>
                </a:cubicBezTo>
                <a:lnTo>
                  <a:pt x="2315" y="491"/>
                </a:lnTo>
                <a:cubicBezTo>
                  <a:pt x="2330" y="517"/>
                  <a:pt x="2347" y="540"/>
                  <a:pt x="2364" y="561"/>
                </a:cubicBezTo>
                <a:lnTo>
                  <a:pt x="2364" y="561"/>
                </a:lnTo>
                <a:cubicBezTo>
                  <a:pt x="2357" y="566"/>
                  <a:pt x="2351" y="572"/>
                  <a:pt x="2344" y="578"/>
                </a:cubicBezTo>
                <a:lnTo>
                  <a:pt x="2344" y="578"/>
                </a:lnTo>
                <a:lnTo>
                  <a:pt x="2344" y="578"/>
                </a:lnTo>
                <a:lnTo>
                  <a:pt x="2344" y="578"/>
                </a:lnTo>
                <a:cubicBezTo>
                  <a:pt x="2337" y="584"/>
                  <a:pt x="2331" y="589"/>
                  <a:pt x="2326" y="595"/>
                </a:cubicBezTo>
                <a:lnTo>
                  <a:pt x="2326" y="595"/>
                </a:lnTo>
                <a:cubicBezTo>
                  <a:pt x="2325" y="595"/>
                  <a:pt x="2325" y="596"/>
                  <a:pt x="2325" y="596"/>
                </a:cubicBezTo>
                <a:lnTo>
                  <a:pt x="2325" y="596"/>
                </a:lnTo>
                <a:cubicBezTo>
                  <a:pt x="2319" y="602"/>
                  <a:pt x="2314" y="608"/>
                  <a:pt x="2309" y="614"/>
                </a:cubicBezTo>
                <a:lnTo>
                  <a:pt x="2309" y="614"/>
                </a:lnTo>
                <a:lnTo>
                  <a:pt x="2308" y="615"/>
                </a:lnTo>
                <a:lnTo>
                  <a:pt x="2308" y="615"/>
                </a:lnTo>
                <a:cubicBezTo>
                  <a:pt x="2226" y="712"/>
                  <a:pt x="2196" y="856"/>
                  <a:pt x="2239" y="976"/>
                </a:cubicBezTo>
                <a:lnTo>
                  <a:pt x="2239" y="976"/>
                </a:lnTo>
                <a:cubicBezTo>
                  <a:pt x="2242" y="986"/>
                  <a:pt x="2246" y="995"/>
                  <a:pt x="2247" y="1005"/>
                </a:cubicBezTo>
                <a:lnTo>
                  <a:pt x="2247" y="1005"/>
                </a:lnTo>
                <a:cubicBezTo>
                  <a:pt x="2247" y="1009"/>
                  <a:pt x="2247" y="1013"/>
                  <a:pt x="2247" y="1016"/>
                </a:cubicBezTo>
                <a:lnTo>
                  <a:pt x="2247" y="1016"/>
                </a:lnTo>
                <a:cubicBezTo>
                  <a:pt x="2246" y="1018"/>
                  <a:pt x="2246" y="1019"/>
                  <a:pt x="2246" y="1020"/>
                </a:cubicBezTo>
                <a:lnTo>
                  <a:pt x="2246" y="1020"/>
                </a:lnTo>
                <a:cubicBezTo>
                  <a:pt x="2245" y="1028"/>
                  <a:pt x="2243" y="1035"/>
                  <a:pt x="2240" y="1042"/>
                </a:cubicBezTo>
                <a:lnTo>
                  <a:pt x="2240" y="1042"/>
                </a:lnTo>
                <a:cubicBezTo>
                  <a:pt x="2239" y="1046"/>
                  <a:pt x="2237" y="1061"/>
                  <a:pt x="2233" y="1080"/>
                </a:cubicBezTo>
                <a:lnTo>
                  <a:pt x="2233" y="1080"/>
                </a:lnTo>
                <a:cubicBezTo>
                  <a:pt x="2208" y="1062"/>
                  <a:pt x="2169" y="1051"/>
                  <a:pt x="2124" y="1080"/>
                </a:cubicBezTo>
                <a:lnTo>
                  <a:pt x="2124" y="1080"/>
                </a:lnTo>
                <a:cubicBezTo>
                  <a:pt x="2084" y="1106"/>
                  <a:pt x="2068" y="1180"/>
                  <a:pt x="2072" y="1256"/>
                </a:cubicBezTo>
                <a:lnTo>
                  <a:pt x="2072" y="1256"/>
                </a:lnTo>
                <a:lnTo>
                  <a:pt x="2072" y="1256"/>
                </a:lnTo>
                <a:cubicBezTo>
                  <a:pt x="2072" y="1257"/>
                  <a:pt x="2072" y="1257"/>
                  <a:pt x="2072" y="1257"/>
                </a:cubicBezTo>
                <a:lnTo>
                  <a:pt x="2072" y="1257"/>
                </a:lnTo>
                <a:cubicBezTo>
                  <a:pt x="2073" y="1263"/>
                  <a:pt x="2074" y="1269"/>
                  <a:pt x="2074" y="1275"/>
                </a:cubicBezTo>
                <a:lnTo>
                  <a:pt x="2074" y="1275"/>
                </a:lnTo>
                <a:cubicBezTo>
                  <a:pt x="2074" y="1276"/>
                  <a:pt x="2074" y="1278"/>
                  <a:pt x="2075" y="1279"/>
                </a:cubicBezTo>
                <a:lnTo>
                  <a:pt x="2075" y="1279"/>
                </a:lnTo>
                <a:cubicBezTo>
                  <a:pt x="2075" y="1284"/>
                  <a:pt x="2076" y="1289"/>
                  <a:pt x="2077" y="1294"/>
                </a:cubicBezTo>
                <a:lnTo>
                  <a:pt x="2077" y="1294"/>
                </a:lnTo>
                <a:cubicBezTo>
                  <a:pt x="2077" y="1295"/>
                  <a:pt x="2077" y="1297"/>
                  <a:pt x="2077" y="1298"/>
                </a:cubicBezTo>
                <a:lnTo>
                  <a:pt x="2077" y="1298"/>
                </a:lnTo>
                <a:cubicBezTo>
                  <a:pt x="2078" y="1302"/>
                  <a:pt x="2078" y="1306"/>
                  <a:pt x="2079" y="1311"/>
                </a:cubicBezTo>
                <a:lnTo>
                  <a:pt x="2079" y="1311"/>
                </a:lnTo>
                <a:cubicBezTo>
                  <a:pt x="2079" y="1312"/>
                  <a:pt x="2080" y="1315"/>
                  <a:pt x="2080" y="1317"/>
                </a:cubicBezTo>
                <a:lnTo>
                  <a:pt x="2080" y="1317"/>
                </a:lnTo>
                <a:cubicBezTo>
                  <a:pt x="2081" y="1319"/>
                  <a:pt x="2082" y="1322"/>
                  <a:pt x="2082" y="1325"/>
                </a:cubicBezTo>
                <a:lnTo>
                  <a:pt x="2082" y="1325"/>
                </a:lnTo>
                <a:cubicBezTo>
                  <a:pt x="2083" y="1327"/>
                  <a:pt x="2084" y="1329"/>
                  <a:pt x="2084" y="1332"/>
                </a:cubicBezTo>
                <a:lnTo>
                  <a:pt x="2084" y="1332"/>
                </a:lnTo>
                <a:cubicBezTo>
                  <a:pt x="2085" y="1335"/>
                  <a:pt x="2086" y="1339"/>
                  <a:pt x="2087" y="1342"/>
                </a:cubicBezTo>
                <a:lnTo>
                  <a:pt x="2087" y="1342"/>
                </a:lnTo>
                <a:cubicBezTo>
                  <a:pt x="2087" y="1345"/>
                  <a:pt x="2088" y="1347"/>
                  <a:pt x="2089" y="1349"/>
                </a:cubicBezTo>
                <a:lnTo>
                  <a:pt x="2089" y="1349"/>
                </a:lnTo>
                <a:cubicBezTo>
                  <a:pt x="2089" y="1352"/>
                  <a:pt x="2090" y="1354"/>
                  <a:pt x="2090" y="1356"/>
                </a:cubicBezTo>
                <a:lnTo>
                  <a:pt x="2090" y="1356"/>
                </a:lnTo>
                <a:cubicBezTo>
                  <a:pt x="2092" y="1360"/>
                  <a:pt x="2093" y="1364"/>
                  <a:pt x="2094" y="1366"/>
                </a:cubicBezTo>
                <a:lnTo>
                  <a:pt x="2094" y="1366"/>
                </a:lnTo>
                <a:cubicBezTo>
                  <a:pt x="2095" y="1368"/>
                  <a:pt x="2095" y="1370"/>
                  <a:pt x="2097" y="1372"/>
                </a:cubicBezTo>
                <a:lnTo>
                  <a:pt x="2097" y="1372"/>
                </a:lnTo>
                <a:cubicBezTo>
                  <a:pt x="2098" y="1376"/>
                  <a:pt x="2099" y="1379"/>
                  <a:pt x="2100" y="1383"/>
                </a:cubicBezTo>
                <a:lnTo>
                  <a:pt x="2100" y="1383"/>
                </a:lnTo>
                <a:cubicBezTo>
                  <a:pt x="2101" y="1385"/>
                  <a:pt x="2102" y="1386"/>
                  <a:pt x="2102" y="1388"/>
                </a:cubicBezTo>
                <a:lnTo>
                  <a:pt x="2102" y="1388"/>
                </a:lnTo>
                <a:cubicBezTo>
                  <a:pt x="2103" y="1390"/>
                  <a:pt x="2105" y="1394"/>
                  <a:pt x="2107" y="1396"/>
                </a:cubicBezTo>
                <a:lnTo>
                  <a:pt x="2107" y="1396"/>
                </a:lnTo>
                <a:cubicBezTo>
                  <a:pt x="2107" y="1398"/>
                  <a:pt x="2108" y="1399"/>
                  <a:pt x="2108" y="1400"/>
                </a:cubicBezTo>
                <a:lnTo>
                  <a:pt x="2108" y="1400"/>
                </a:lnTo>
                <a:cubicBezTo>
                  <a:pt x="2110" y="1404"/>
                  <a:pt x="2112" y="1408"/>
                  <a:pt x="2113" y="1410"/>
                </a:cubicBezTo>
                <a:lnTo>
                  <a:pt x="2113" y="1410"/>
                </a:lnTo>
                <a:cubicBezTo>
                  <a:pt x="2114" y="1412"/>
                  <a:pt x="2115" y="1413"/>
                  <a:pt x="2116" y="1414"/>
                </a:cubicBezTo>
                <a:lnTo>
                  <a:pt x="2116" y="1414"/>
                </a:lnTo>
                <a:cubicBezTo>
                  <a:pt x="2118" y="1418"/>
                  <a:pt x="2119" y="1421"/>
                  <a:pt x="2122" y="1424"/>
                </a:cubicBezTo>
                <a:lnTo>
                  <a:pt x="2122" y="1424"/>
                </a:lnTo>
                <a:cubicBezTo>
                  <a:pt x="2122" y="1425"/>
                  <a:pt x="2123" y="1426"/>
                  <a:pt x="2123" y="1427"/>
                </a:cubicBezTo>
                <a:lnTo>
                  <a:pt x="2123" y="1427"/>
                </a:lnTo>
                <a:cubicBezTo>
                  <a:pt x="2126" y="1430"/>
                  <a:pt x="2128" y="1433"/>
                  <a:pt x="2130" y="1436"/>
                </a:cubicBezTo>
                <a:lnTo>
                  <a:pt x="2130" y="1436"/>
                </a:lnTo>
                <a:cubicBezTo>
                  <a:pt x="2131" y="1437"/>
                  <a:pt x="2131" y="1438"/>
                  <a:pt x="2132" y="1438"/>
                </a:cubicBezTo>
                <a:lnTo>
                  <a:pt x="2132" y="1438"/>
                </a:lnTo>
                <a:cubicBezTo>
                  <a:pt x="2134" y="1440"/>
                  <a:pt x="2137" y="1443"/>
                  <a:pt x="2139" y="1446"/>
                </a:cubicBezTo>
                <a:lnTo>
                  <a:pt x="2139" y="1446"/>
                </a:lnTo>
                <a:lnTo>
                  <a:pt x="2140" y="1447"/>
                </a:lnTo>
                <a:lnTo>
                  <a:pt x="2140" y="1447"/>
                </a:lnTo>
                <a:cubicBezTo>
                  <a:pt x="2143" y="1450"/>
                  <a:pt x="2146" y="1453"/>
                  <a:pt x="2148" y="1455"/>
                </a:cubicBezTo>
                <a:lnTo>
                  <a:pt x="2148" y="1455"/>
                </a:lnTo>
                <a:cubicBezTo>
                  <a:pt x="2149" y="1456"/>
                  <a:pt x="2149" y="1456"/>
                  <a:pt x="2150" y="1457"/>
                </a:cubicBezTo>
                <a:lnTo>
                  <a:pt x="2150" y="1457"/>
                </a:lnTo>
                <a:cubicBezTo>
                  <a:pt x="2153" y="1459"/>
                  <a:pt x="2156" y="1461"/>
                  <a:pt x="2159" y="1463"/>
                </a:cubicBezTo>
                <a:lnTo>
                  <a:pt x="2159" y="1463"/>
                </a:lnTo>
                <a:lnTo>
                  <a:pt x="2160" y="1464"/>
                </a:lnTo>
                <a:lnTo>
                  <a:pt x="2160" y="1464"/>
                </a:lnTo>
                <a:cubicBezTo>
                  <a:pt x="2163" y="1466"/>
                  <a:pt x="2166" y="1467"/>
                  <a:pt x="2169" y="1469"/>
                </a:cubicBezTo>
                <a:lnTo>
                  <a:pt x="2169" y="1469"/>
                </a:lnTo>
                <a:cubicBezTo>
                  <a:pt x="2169" y="1469"/>
                  <a:pt x="2170" y="1469"/>
                  <a:pt x="2170" y="1470"/>
                </a:cubicBezTo>
                <a:lnTo>
                  <a:pt x="2170" y="1470"/>
                </a:lnTo>
                <a:cubicBezTo>
                  <a:pt x="2173" y="1471"/>
                  <a:pt x="2176" y="1472"/>
                  <a:pt x="2180" y="1473"/>
                </a:cubicBezTo>
                <a:lnTo>
                  <a:pt x="2180" y="1473"/>
                </a:lnTo>
                <a:cubicBezTo>
                  <a:pt x="2180" y="1474"/>
                  <a:pt x="2181" y="1474"/>
                  <a:pt x="2182" y="1474"/>
                </a:cubicBezTo>
                <a:lnTo>
                  <a:pt x="2182" y="1474"/>
                </a:lnTo>
                <a:cubicBezTo>
                  <a:pt x="2185" y="1475"/>
                  <a:pt x="2189" y="1476"/>
                  <a:pt x="2192" y="1476"/>
                </a:cubicBezTo>
                <a:lnTo>
                  <a:pt x="2192" y="1476"/>
                </a:lnTo>
                <a:cubicBezTo>
                  <a:pt x="2193" y="1476"/>
                  <a:pt x="2193" y="1476"/>
                  <a:pt x="2194" y="1476"/>
                </a:cubicBezTo>
                <a:lnTo>
                  <a:pt x="2194" y="1476"/>
                </a:lnTo>
                <a:cubicBezTo>
                  <a:pt x="2198" y="1477"/>
                  <a:pt x="2201" y="1477"/>
                  <a:pt x="2204" y="1477"/>
                </a:cubicBezTo>
                <a:lnTo>
                  <a:pt x="2204" y="1477"/>
                </a:lnTo>
                <a:lnTo>
                  <a:pt x="2205" y="1477"/>
                </a:lnTo>
                <a:lnTo>
                  <a:pt x="2205" y="1477"/>
                </a:lnTo>
                <a:cubicBezTo>
                  <a:pt x="2208" y="1557"/>
                  <a:pt x="2225" y="1652"/>
                  <a:pt x="2276" y="1740"/>
                </a:cubicBezTo>
                <a:lnTo>
                  <a:pt x="2276" y="1740"/>
                </a:lnTo>
                <a:lnTo>
                  <a:pt x="2276" y="1740"/>
                </a:lnTo>
                <a:cubicBezTo>
                  <a:pt x="2276" y="1740"/>
                  <a:pt x="2276" y="1740"/>
                  <a:pt x="2276" y="1741"/>
                </a:cubicBezTo>
                <a:lnTo>
                  <a:pt x="2276" y="1741"/>
                </a:lnTo>
                <a:cubicBezTo>
                  <a:pt x="2277" y="1742"/>
                  <a:pt x="2277" y="1743"/>
                  <a:pt x="2279" y="1745"/>
                </a:cubicBezTo>
                <a:lnTo>
                  <a:pt x="2279" y="1745"/>
                </a:lnTo>
                <a:cubicBezTo>
                  <a:pt x="2281" y="1750"/>
                  <a:pt x="2284" y="1754"/>
                  <a:pt x="2287" y="1758"/>
                </a:cubicBezTo>
                <a:lnTo>
                  <a:pt x="2287" y="1758"/>
                </a:lnTo>
                <a:cubicBezTo>
                  <a:pt x="2288" y="1761"/>
                  <a:pt x="2289" y="1762"/>
                  <a:pt x="2290" y="1764"/>
                </a:cubicBezTo>
                <a:lnTo>
                  <a:pt x="2290" y="1764"/>
                </a:lnTo>
                <a:cubicBezTo>
                  <a:pt x="2293" y="1769"/>
                  <a:pt x="2297" y="1774"/>
                  <a:pt x="2300" y="1779"/>
                </a:cubicBezTo>
                <a:lnTo>
                  <a:pt x="2300" y="1779"/>
                </a:lnTo>
                <a:cubicBezTo>
                  <a:pt x="2302" y="1781"/>
                  <a:pt x="2303" y="1783"/>
                  <a:pt x="2304" y="1785"/>
                </a:cubicBezTo>
                <a:lnTo>
                  <a:pt x="2304" y="1785"/>
                </a:lnTo>
                <a:cubicBezTo>
                  <a:pt x="2309" y="1791"/>
                  <a:pt x="2312" y="1795"/>
                  <a:pt x="2316" y="1801"/>
                </a:cubicBezTo>
                <a:lnTo>
                  <a:pt x="2316" y="1801"/>
                </a:lnTo>
                <a:cubicBezTo>
                  <a:pt x="2317" y="1802"/>
                  <a:pt x="2319" y="1803"/>
                  <a:pt x="2320" y="1805"/>
                </a:cubicBezTo>
                <a:lnTo>
                  <a:pt x="2320" y="1805"/>
                </a:lnTo>
                <a:cubicBezTo>
                  <a:pt x="2323" y="1809"/>
                  <a:pt x="2327" y="1814"/>
                  <a:pt x="2331" y="1818"/>
                </a:cubicBezTo>
                <a:lnTo>
                  <a:pt x="2331" y="1818"/>
                </a:lnTo>
                <a:cubicBezTo>
                  <a:pt x="2332" y="1820"/>
                  <a:pt x="2333" y="1821"/>
                  <a:pt x="2334" y="1822"/>
                </a:cubicBezTo>
                <a:lnTo>
                  <a:pt x="2334" y="1822"/>
                </a:lnTo>
                <a:cubicBezTo>
                  <a:pt x="2339" y="1827"/>
                  <a:pt x="2344" y="1833"/>
                  <a:pt x="2349" y="1837"/>
                </a:cubicBezTo>
                <a:lnTo>
                  <a:pt x="2349" y="1837"/>
                </a:lnTo>
                <a:cubicBezTo>
                  <a:pt x="2350" y="1839"/>
                  <a:pt x="2352" y="1841"/>
                  <a:pt x="2353" y="1842"/>
                </a:cubicBezTo>
                <a:lnTo>
                  <a:pt x="2353" y="1842"/>
                </a:lnTo>
                <a:cubicBezTo>
                  <a:pt x="2358" y="1847"/>
                  <a:pt x="2364" y="1852"/>
                  <a:pt x="2369" y="1857"/>
                </a:cubicBezTo>
                <a:lnTo>
                  <a:pt x="2369" y="1857"/>
                </a:lnTo>
                <a:cubicBezTo>
                  <a:pt x="2370" y="1859"/>
                  <a:pt x="2371" y="1860"/>
                  <a:pt x="2373" y="1861"/>
                </a:cubicBezTo>
                <a:lnTo>
                  <a:pt x="2373" y="1861"/>
                </a:lnTo>
                <a:cubicBezTo>
                  <a:pt x="2378" y="1865"/>
                  <a:pt x="2382" y="1870"/>
                  <a:pt x="2388" y="1874"/>
                </a:cubicBezTo>
                <a:lnTo>
                  <a:pt x="2388" y="1874"/>
                </a:lnTo>
                <a:cubicBezTo>
                  <a:pt x="2389" y="1874"/>
                  <a:pt x="2390" y="1876"/>
                  <a:pt x="2391" y="1877"/>
                </a:cubicBezTo>
                <a:lnTo>
                  <a:pt x="2391" y="1877"/>
                </a:lnTo>
                <a:cubicBezTo>
                  <a:pt x="2397" y="1882"/>
                  <a:pt x="2404" y="1886"/>
                  <a:pt x="2410" y="1891"/>
                </a:cubicBezTo>
                <a:lnTo>
                  <a:pt x="2410" y="1891"/>
                </a:lnTo>
                <a:cubicBezTo>
                  <a:pt x="2411" y="1892"/>
                  <a:pt x="2413" y="1893"/>
                  <a:pt x="2415" y="1894"/>
                </a:cubicBezTo>
                <a:lnTo>
                  <a:pt x="2415" y="1894"/>
                </a:lnTo>
                <a:cubicBezTo>
                  <a:pt x="2421" y="1899"/>
                  <a:pt x="2428" y="1904"/>
                  <a:pt x="2434" y="1908"/>
                </a:cubicBezTo>
                <a:lnTo>
                  <a:pt x="2434" y="1908"/>
                </a:lnTo>
                <a:cubicBezTo>
                  <a:pt x="2436" y="1909"/>
                  <a:pt x="2438" y="1910"/>
                  <a:pt x="2439" y="1911"/>
                </a:cubicBezTo>
                <a:lnTo>
                  <a:pt x="2439" y="1911"/>
                </a:lnTo>
                <a:cubicBezTo>
                  <a:pt x="2445" y="1915"/>
                  <a:pt x="2452" y="1919"/>
                  <a:pt x="2459" y="1923"/>
                </a:cubicBezTo>
                <a:lnTo>
                  <a:pt x="2459" y="1923"/>
                </a:lnTo>
                <a:cubicBezTo>
                  <a:pt x="2460" y="1924"/>
                  <a:pt x="2461" y="1924"/>
                  <a:pt x="2462" y="1925"/>
                </a:cubicBezTo>
                <a:lnTo>
                  <a:pt x="2462" y="1925"/>
                </a:lnTo>
                <a:cubicBezTo>
                  <a:pt x="2469" y="1929"/>
                  <a:pt x="2477" y="1933"/>
                  <a:pt x="2485" y="1937"/>
                </a:cubicBezTo>
                <a:lnTo>
                  <a:pt x="2485" y="1937"/>
                </a:lnTo>
                <a:cubicBezTo>
                  <a:pt x="2486" y="1938"/>
                  <a:pt x="2488" y="1940"/>
                  <a:pt x="2491" y="1940"/>
                </a:cubicBezTo>
                <a:lnTo>
                  <a:pt x="2491" y="1940"/>
                </a:lnTo>
                <a:cubicBezTo>
                  <a:pt x="2498" y="1944"/>
                  <a:pt x="2506" y="1948"/>
                  <a:pt x="2515" y="1952"/>
                </a:cubicBezTo>
                <a:lnTo>
                  <a:pt x="2515" y="1952"/>
                </a:lnTo>
                <a:cubicBezTo>
                  <a:pt x="2516" y="1953"/>
                  <a:pt x="2517" y="1953"/>
                  <a:pt x="2519" y="1954"/>
                </a:cubicBezTo>
                <a:lnTo>
                  <a:pt x="2519" y="1954"/>
                </a:lnTo>
                <a:cubicBezTo>
                  <a:pt x="2527" y="1958"/>
                  <a:pt x="2536" y="1962"/>
                  <a:pt x="2545" y="1965"/>
                </a:cubicBezTo>
                <a:lnTo>
                  <a:pt x="2545" y="1965"/>
                </a:lnTo>
                <a:cubicBezTo>
                  <a:pt x="2546" y="1965"/>
                  <a:pt x="2546" y="1965"/>
                  <a:pt x="2547" y="1965"/>
                </a:cubicBezTo>
                <a:lnTo>
                  <a:pt x="2547" y="1965"/>
                </a:lnTo>
                <a:cubicBezTo>
                  <a:pt x="2556" y="1969"/>
                  <a:pt x="2566" y="1973"/>
                  <a:pt x="2575" y="1975"/>
                </a:cubicBezTo>
                <a:lnTo>
                  <a:pt x="2575" y="1975"/>
                </a:lnTo>
                <a:cubicBezTo>
                  <a:pt x="2577" y="1977"/>
                  <a:pt x="2579" y="1977"/>
                  <a:pt x="2581" y="1978"/>
                </a:cubicBezTo>
                <a:lnTo>
                  <a:pt x="2581" y="1978"/>
                </a:lnTo>
                <a:cubicBezTo>
                  <a:pt x="2590" y="1981"/>
                  <a:pt x="2600" y="1984"/>
                  <a:pt x="2610" y="1987"/>
                </a:cubicBezTo>
                <a:lnTo>
                  <a:pt x="2610" y="1987"/>
                </a:lnTo>
                <a:cubicBezTo>
                  <a:pt x="2612" y="1987"/>
                  <a:pt x="2614" y="1988"/>
                  <a:pt x="2616" y="1988"/>
                </a:cubicBezTo>
                <a:lnTo>
                  <a:pt x="2616" y="1988"/>
                </a:lnTo>
                <a:cubicBezTo>
                  <a:pt x="2626" y="1991"/>
                  <a:pt x="2636" y="1994"/>
                  <a:pt x="2647" y="1997"/>
                </a:cubicBezTo>
                <a:lnTo>
                  <a:pt x="2647" y="1997"/>
                </a:lnTo>
                <a:lnTo>
                  <a:pt x="2648" y="1997"/>
                </a:lnTo>
                <a:lnTo>
                  <a:pt x="2648" y="1997"/>
                </a:lnTo>
                <a:cubicBezTo>
                  <a:pt x="2659" y="2000"/>
                  <a:pt x="2671" y="2002"/>
                  <a:pt x="2682" y="2004"/>
                </a:cubicBezTo>
                <a:lnTo>
                  <a:pt x="2682" y="2004"/>
                </a:lnTo>
                <a:cubicBezTo>
                  <a:pt x="2684" y="2004"/>
                  <a:pt x="2686" y="2005"/>
                  <a:pt x="2688" y="2005"/>
                </a:cubicBezTo>
                <a:lnTo>
                  <a:pt x="2688" y="2005"/>
                </a:lnTo>
                <a:cubicBezTo>
                  <a:pt x="2700" y="2007"/>
                  <a:pt x="2711" y="2010"/>
                  <a:pt x="2723" y="2011"/>
                </a:cubicBezTo>
                <a:lnTo>
                  <a:pt x="2723" y="2011"/>
                </a:lnTo>
                <a:cubicBezTo>
                  <a:pt x="2725" y="2011"/>
                  <a:pt x="2727" y="2012"/>
                  <a:pt x="2729" y="2012"/>
                </a:cubicBezTo>
                <a:lnTo>
                  <a:pt x="2729" y="2012"/>
                </a:lnTo>
                <a:cubicBezTo>
                  <a:pt x="2742" y="2014"/>
                  <a:pt x="2754" y="2015"/>
                  <a:pt x="2767" y="2017"/>
                </a:cubicBezTo>
                <a:lnTo>
                  <a:pt x="2767" y="2017"/>
                </a:lnTo>
                <a:cubicBezTo>
                  <a:pt x="2779" y="2018"/>
                  <a:pt x="2791" y="2019"/>
                  <a:pt x="2802" y="2020"/>
                </a:cubicBezTo>
                <a:lnTo>
                  <a:pt x="2798" y="2096"/>
                </a:lnTo>
                <a:lnTo>
                  <a:pt x="2798" y="2096"/>
                </a:lnTo>
                <a:cubicBezTo>
                  <a:pt x="2797" y="2079"/>
                  <a:pt x="2798" y="2061"/>
                  <a:pt x="2799" y="2043"/>
                </a:cubicBezTo>
                <a:lnTo>
                  <a:pt x="2799" y="2043"/>
                </a:lnTo>
                <a:cubicBezTo>
                  <a:pt x="2778" y="2068"/>
                  <a:pt x="2757" y="2094"/>
                  <a:pt x="2737" y="2122"/>
                </a:cubicBezTo>
                <a:lnTo>
                  <a:pt x="2737" y="2122"/>
                </a:lnTo>
                <a:cubicBezTo>
                  <a:pt x="2762" y="2082"/>
                  <a:pt x="2779" y="2058"/>
                  <a:pt x="2783" y="2052"/>
                </a:cubicBezTo>
                <a:lnTo>
                  <a:pt x="2783" y="2052"/>
                </a:lnTo>
                <a:cubicBezTo>
                  <a:pt x="2775" y="2059"/>
                  <a:pt x="2726" y="2061"/>
                  <a:pt x="2665" y="2093"/>
                </a:cubicBezTo>
                <a:lnTo>
                  <a:pt x="2665" y="2093"/>
                </a:lnTo>
                <a:cubicBezTo>
                  <a:pt x="2666" y="2092"/>
                  <a:pt x="2667" y="2090"/>
                  <a:pt x="2667" y="2089"/>
                </a:cubicBezTo>
                <a:lnTo>
                  <a:pt x="2667" y="2089"/>
                </a:lnTo>
                <a:cubicBezTo>
                  <a:pt x="2719" y="2024"/>
                  <a:pt x="2452" y="2086"/>
                  <a:pt x="2404" y="2152"/>
                </a:cubicBezTo>
                <a:lnTo>
                  <a:pt x="2404" y="2152"/>
                </a:lnTo>
                <a:cubicBezTo>
                  <a:pt x="2313" y="2164"/>
                  <a:pt x="2221" y="2183"/>
                  <a:pt x="2169" y="2215"/>
                </a:cubicBezTo>
                <a:lnTo>
                  <a:pt x="2169" y="2215"/>
                </a:lnTo>
                <a:cubicBezTo>
                  <a:pt x="1832" y="2251"/>
                  <a:pt x="1348" y="2359"/>
                  <a:pt x="1261" y="2283"/>
                </a:cubicBezTo>
                <a:lnTo>
                  <a:pt x="1261" y="2283"/>
                </a:lnTo>
                <a:cubicBezTo>
                  <a:pt x="1261" y="2282"/>
                  <a:pt x="1259" y="2281"/>
                  <a:pt x="1258" y="2280"/>
                </a:cubicBezTo>
                <a:lnTo>
                  <a:pt x="1258" y="2280"/>
                </a:lnTo>
                <a:cubicBezTo>
                  <a:pt x="1258" y="2279"/>
                  <a:pt x="1257" y="2278"/>
                  <a:pt x="1256" y="2277"/>
                </a:cubicBezTo>
                <a:lnTo>
                  <a:pt x="1256" y="2277"/>
                </a:lnTo>
                <a:cubicBezTo>
                  <a:pt x="1254" y="2275"/>
                  <a:pt x="1253" y="2273"/>
                  <a:pt x="1252" y="2270"/>
                </a:cubicBezTo>
                <a:lnTo>
                  <a:pt x="1309" y="2059"/>
                </a:lnTo>
                <a:lnTo>
                  <a:pt x="1309" y="2059"/>
                </a:lnTo>
                <a:lnTo>
                  <a:pt x="1309" y="2059"/>
                </a:lnTo>
                <a:lnTo>
                  <a:pt x="1506" y="1332"/>
                </a:lnTo>
                <a:lnTo>
                  <a:pt x="1506" y="1332"/>
                </a:lnTo>
                <a:cubicBezTo>
                  <a:pt x="1488" y="1289"/>
                  <a:pt x="1462" y="1255"/>
                  <a:pt x="1431" y="1228"/>
                </a:cubicBezTo>
                <a:lnTo>
                  <a:pt x="1436" y="1217"/>
                </a:lnTo>
                <a:lnTo>
                  <a:pt x="1443" y="1198"/>
                </a:lnTo>
                <a:lnTo>
                  <a:pt x="1443" y="1198"/>
                </a:lnTo>
                <a:cubicBezTo>
                  <a:pt x="1433" y="1189"/>
                  <a:pt x="1424" y="1180"/>
                  <a:pt x="1413" y="1172"/>
                </a:cubicBezTo>
                <a:lnTo>
                  <a:pt x="1415" y="1165"/>
                </a:lnTo>
                <a:lnTo>
                  <a:pt x="1415" y="1165"/>
                </a:lnTo>
                <a:cubicBezTo>
                  <a:pt x="1415" y="1165"/>
                  <a:pt x="1601" y="1154"/>
                  <a:pt x="1641" y="1040"/>
                </a:cubicBezTo>
                <a:lnTo>
                  <a:pt x="1641" y="1040"/>
                </a:lnTo>
                <a:cubicBezTo>
                  <a:pt x="1654" y="1004"/>
                  <a:pt x="1660" y="963"/>
                  <a:pt x="1676" y="929"/>
                </a:cubicBezTo>
                <a:lnTo>
                  <a:pt x="1676" y="929"/>
                </a:lnTo>
                <a:cubicBezTo>
                  <a:pt x="1686" y="909"/>
                  <a:pt x="1704" y="888"/>
                  <a:pt x="1695" y="868"/>
                </a:cubicBezTo>
                <a:lnTo>
                  <a:pt x="1695" y="868"/>
                </a:lnTo>
                <a:cubicBezTo>
                  <a:pt x="1685" y="844"/>
                  <a:pt x="1658" y="843"/>
                  <a:pt x="1634" y="851"/>
                </a:cubicBezTo>
                <a:lnTo>
                  <a:pt x="1634" y="851"/>
                </a:lnTo>
                <a:cubicBezTo>
                  <a:pt x="1640" y="847"/>
                  <a:pt x="1643" y="844"/>
                  <a:pt x="1644" y="844"/>
                </a:cubicBezTo>
                <a:lnTo>
                  <a:pt x="1644" y="844"/>
                </a:lnTo>
                <a:cubicBezTo>
                  <a:pt x="1642" y="844"/>
                  <a:pt x="1628" y="845"/>
                  <a:pt x="1611" y="852"/>
                </a:cubicBezTo>
                <a:lnTo>
                  <a:pt x="1611" y="852"/>
                </a:lnTo>
                <a:cubicBezTo>
                  <a:pt x="1611" y="852"/>
                  <a:pt x="1611" y="851"/>
                  <a:pt x="1611" y="850"/>
                </a:cubicBezTo>
                <a:lnTo>
                  <a:pt x="1611" y="850"/>
                </a:lnTo>
                <a:cubicBezTo>
                  <a:pt x="1611" y="849"/>
                  <a:pt x="1611" y="848"/>
                  <a:pt x="1611" y="848"/>
                </a:cubicBezTo>
                <a:lnTo>
                  <a:pt x="1611" y="848"/>
                </a:lnTo>
                <a:cubicBezTo>
                  <a:pt x="1611" y="847"/>
                  <a:pt x="1611" y="845"/>
                  <a:pt x="1611" y="844"/>
                </a:cubicBezTo>
                <a:lnTo>
                  <a:pt x="1611" y="844"/>
                </a:lnTo>
                <a:cubicBezTo>
                  <a:pt x="1611" y="843"/>
                  <a:pt x="1611" y="842"/>
                  <a:pt x="1611" y="841"/>
                </a:cubicBezTo>
                <a:lnTo>
                  <a:pt x="1611" y="841"/>
                </a:lnTo>
                <a:cubicBezTo>
                  <a:pt x="1611" y="840"/>
                  <a:pt x="1611" y="839"/>
                  <a:pt x="1611" y="838"/>
                </a:cubicBezTo>
                <a:lnTo>
                  <a:pt x="1611" y="838"/>
                </a:lnTo>
                <a:cubicBezTo>
                  <a:pt x="1610" y="781"/>
                  <a:pt x="1585" y="680"/>
                  <a:pt x="1531" y="689"/>
                </a:cubicBezTo>
                <a:lnTo>
                  <a:pt x="1531" y="689"/>
                </a:lnTo>
                <a:lnTo>
                  <a:pt x="1531" y="689"/>
                </a:lnTo>
                <a:lnTo>
                  <a:pt x="1531" y="689"/>
                </a:lnTo>
                <a:cubicBezTo>
                  <a:pt x="1541" y="685"/>
                  <a:pt x="1547" y="683"/>
                  <a:pt x="1547" y="683"/>
                </a:cubicBezTo>
                <a:lnTo>
                  <a:pt x="1547" y="683"/>
                </a:lnTo>
                <a:cubicBezTo>
                  <a:pt x="1547" y="683"/>
                  <a:pt x="1541" y="683"/>
                  <a:pt x="1530" y="686"/>
                </a:cubicBezTo>
                <a:lnTo>
                  <a:pt x="1530" y="686"/>
                </a:lnTo>
                <a:cubicBezTo>
                  <a:pt x="1523" y="688"/>
                  <a:pt x="1513" y="690"/>
                  <a:pt x="1503" y="696"/>
                </a:cubicBezTo>
                <a:lnTo>
                  <a:pt x="1503" y="696"/>
                </a:lnTo>
                <a:cubicBezTo>
                  <a:pt x="1479" y="666"/>
                  <a:pt x="1438" y="650"/>
                  <a:pt x="1399" y="655"/>
                </a:cubicBezTo>
                <a:lnTo>
                  <a:pt x="1399" y="655"/>
                </a:lnTo>
                <a:lnTo>
                  <a:pt x="1398" y="655"/>
                </a:lnTo>
                <a:lnTo>
                  <a:pt x="1398" y="655"/>
                </a:lnTo>
                <a:cubicBezTo>
                  <a:pt x="1395" y="655"/>
                  <a:pt x="1392" y="655"/>
                  <a:pt x="1389" y="656"/>
                </a:cubicBezTo>
                <a:lnTo>
                  <a:pt x="1389" y="656"/>
                </a:lnTo>
                <a:cubicBezTo>
                  <a:pt x="1388" y="656"/>
                  <a:pt x="1386" y="656"/>
                  <a:pt x="1386" y="656"/>
                </a:cubicBezTo>
                <a:lnTo>
                  <a:pt x="1386" y="656"/>
                </a:lnTo>
                <a:cubicBezTo>
                  <a:pt x="1382" y="658"/>
                  <a:pt x="1379" y="658"/>
                  <a:pt x="1375" y="659"/>
                </a:cubicBezTo>
                <a:lnTo>
                  <a:pt x="1375" y="659"/>
                </a:lnTo>
                <a:cubicBezTo>
                  <a:pt x="1375" y="660"/>
                  <a:pt x="1374" y="660"/>
                  <a:pt x="1374" y="660"/>
                </a:cubicBezTo>
                <a:lnTo>
                  <a:pt x="1374" y="660"/>
                </a:lnTo>
                <a:cubicBezTo>
                  <a:pt x="1374" y="659"/>
                  <a:pt x="1374" y="659"/>
                  <a:pt x="1374" y="659"/>
                </a:cubicBezTo>
                <a:lnTo>
                  <a:pt x="1374" y="659"/>
                </a:lnTo>
                <a:cubicBezTo>
                  <a:pt x="1374" y="659"/>
                  <a:pt x="1374" y="659"/>
                  <a:pt x="1373" y="660"/>
                </a:cubicBezTo>
                <a:lnTo>
                  <a:pt x="1373" y="660"/>
                </a:lnTo>
                <a:cubicBezTo>
                  <a:pt x="1368" y="662"/>
                  <a:pt x="1362" y="664"/>
                  <a:pt x="1357" y="665"/>
                </a:cubicBezTo>
                <a:lnTo>
                  <a:pt x="1357" y="665"/>
                </a:lnTo>
                <a:cubicBezTo>
                  <a:pt x="1349" y="665"/>
                  <a:pt x="1341" y="662"/>
                  <a:pt x="1333" y="661"/>
                </a:cubicBezTo>
                <a:lnTo>
                  <a:pt x="1333" y="661"/>
                </a:lnTo>
                <a:cubicBezTo>
                  <a:pt x="1311" y="657"/>
                  <a:pt x="1286" y="665"/>
                  <a:pt x="1269" y="680"/>
                </a:cubicBezTo>
                <a:lnTo>
                  <a:pt x="1269" y="680"/>
                </a:lnTo>
                <a:cubicBezTo>
                  <a:pt x="1269" y="681"/>
                  <a:pt x="1269" y="681"/>
                  <a:pt x="1269" y="681"/>
                </a:cubicBezTo>
                <a:lnTo>
                  <a:pt x="1269" y="681"/>
                </a:lnTo>
                <a:cubicBezTo>
                  <a:pt x="1265" y="685"/>
                  <a:pt x="1256" y="680"/>
                  <a:pt x="1251" y="681"/>
                </a:cubicBezTo>
                <a:lnTo>
                  <a:pt x="1251" y="681"/>
                </a:lnTo>
                <a:cubicBezTo>
                  <a:pt x="1251" y="681"/>
                  <a:pt x="1251" y="681"/>
                  <a:pt x="1250" y="681"/>
                </a:cubicBezTo>
                <a:lnTo>
                  <a:pt x="1250" y="681"/>
                </a:lnTo>
                <a:cubicBezTo>
                  <a:pt x="1176" y="697"/>
                  <a:pt x="1156" y="795"/>
                  <a:pt x="1150" y="857"/>
                </a:cubicBezTo>
                <a:lnTo>
                  <a:pt x="1150" y="857"/>
                </a:lnTo>
                <a:cubicBezTo>
                  <a:pt x="1147" y="874"/>
                  <a:pt x="1146" y="892"/>
                  <a:pt x="1146" y="912"/>
                </a:cubicBezTo>
                <a:lnTo>
                  <a:pt x="1146" y="912"/>
                </a:lnTo>
                <a:cubicBezTo>
                  <a:pt x="1146" y="917"/>
                  <a:pt x="1146" y="922"/>
                  <a:pt x="1146" y="927"/>
                </a:cubicBezTo>
                <a:lnTo>
                  <a:pt x="1146" y="927"/>
                </a:lnTo>
                <a:cubicBezTo>
                  <a:pt x="1146" y="967"/>
                  <a:pt x="1150" y="1009"/>
                  <a:pt x="1166" y="1044"/>
                </a:cubicBezTo>
                <a:lnTo>
                  <a:pt x="1166" y="1044"/>
                </a:lnTo>
                <a:cubicBezTo>
                  <a:pt x="1164" y="1043"/>
                  <a:pt x="1163" y="1043"/>
                  <a:pt x="1163" y="1043"/>
                </a:cubicBezTo>
                <a:lnTo>
                  <a:pt x="1163" y="1043"/>
                </a:lnTo>
                <a:cubicBezTo>
                  <a:pt x="1155" y="1051"/>
                  <a:pt x="1140" y="1093"/>
                  <a:pt x="1129" y="1127"/>
                </a:cubicBezTo>
                <a:lnTo>
                  <a:pt x="1129" y="1127"/>
                </a:lnTo>
                <a:cubicBezTo>
                  <a:pt x="1093" y="1126"/>
                  <a:pt x="1069" y="1127"/>
                  <a:pt x="1069" y="1127"/>
                </a:cubicBezTo>
                <a:lnTo>
                  <a:pt x="1069" y="1127"/>
                </a:lnTo>
                <a:cubicBezTo>
                  <a:pt x="1069" y="1127"/>
                  <a:pt x="767" y="2005"/>
                  <a:pt x="839" y="2428"/>
                </a:cubicBezTo>
                <a:lnTo>
                  <a:pt x="839" y="2428"/>
                </a:lnTo>
                <a:cubicBezTo>
                  <a:pt x="841" y="2442"/>
                  <a:pt x="844" y="2456"/>
                  <a:pt x="848" y="2470"/>
                </a:cubicBezTo>
                <a:lnTo>
                  <a:pt x="848" y="2470"/>
                </a:lnTo>
                <a:lnTo>
                  <a:pt x="848" y="2471"/>
                </a:lnTo>
                <a:lnTo>
                  <a:pt x="848" y="2471"/>
                </a:lnTo>
                <a:cubicBezTo>
                  <a:pt x="859" y="2513"/>
                  <a:pt x="874" y="2550"/>
                  <a:pt x="895" y="2579"/>
                </a:cubicBezTo>
                <a:lnTo>
                  <a:pt x="895" y="2579"/>
                </a:lnTo>
                <a:cubicBezTo>
                  <a:pt x="899" y="2583"/>
                  <a:pt x="903" y="2588"/>
                  <a:pt x="906" y="2592"/>
                </a:cubicBezTo>
                <a:lnTo>
                  <a:pt x="906" y="2592"/>
                </a:lnTo>
                <a:cubicBezTo>
                  <a:pt x="1083" y="2793"/>
                  <a:pt x="1657" y="2876"/>
                  <a:pt x="2038" y="2803"/>
                </a:cubicBezTo>
                <a:lnTo>
                  <a:pt x="2038" y="2803"/>
                </a:lnTo>
                <a:cubicBezTo>
                  <a:pt x="1973" y="3025"/>
                  <a:pt x="1883" y="3319"/>
                  <a:pt x="1773" y="3648"/>
                </a:cubicBezTo>
                <a:lnTo>
                  <a:pt x="1773" y="3648"/>
                </a:lnTo>
                <a:lnTo>
                  <a:pt x="1773" y="3648"/>
                </a:lnTo>
                <a:cubicBezTo>
                  <a:pt x="1378" y="4826"/>
                  <a:pt x="719" y="6439"/>
                  <a:pt x="0" y="6679"/>
                </a:cubicBezTo>
                <a:lnTo>
                  <a:pt x="0" y="6679"/>
                </a:lnTo>
                <a:cubicBezTo>
                  <a:pt x="0" y="6679"/>
                  <a:pt x="237" y="7270"/>
                  <a:pt x="1272" y="7241"/>
                </a:cubicBezTo>
                <a:lnTo>
                  <a:pt x="1272" y="7241"/>
                </a:lnTo>
                <a:cubicBezTo>
                  <a:pt x="2156" y="7216"/>
                  <a:pt x="2092" y="7018"/>
                  <a:pt x="2587" y="7218"/>
                </a:cubicBezTo>
                <a:lnTo>
                  <a:pt x="2587" y="7218"/>
                </a:lnTo>
                <a:cubicBezTo>
                  <a:pt x="2590" y="7295"/>
                  <a:pt x="2594" y="7368"/>
                  <a:pt x="2597" y="7438"/>
                </a:cubicBezTo>
                <a:lnTo>
                  <a:pt x="2597" y="7438"/>
                </a:lnTo>
                <a:cubicBezTo>
                  <a:pt x="2597" y="7445"/>
                  <a:pt x="2598" y="7452"/>
                  <a:pt x="2598" y="7460"/>
                </a:cubicBezTo>
                <a:lnTo>
                  <a:pt x="2598" y="7460"/>
                </a:lnTo>
                <a:cubicBezTo>
                  <a:pt x="2599" y="7474"/>
                  <a:pt x="2599" y="7487"/>
                  <a:pt x="2600" y="7501"/>
                </a:cubicBezTo>
                <a:lnTo>
                  <a:pt x="2600" y="7501"/>
                </a:lnTo>
                <a:cubicBezTo>
                  <a:pt x="2600" y="7504"/>
                  <a:pt x="2600" y="7507"/>
                  <a:pt x="2600" y="7511"/>
                </a:cubicBezTo>
                <a:lnTo>
                  <a:pt x="2600" y="7511"/>
                </a:lnTo>
                <a:cubicBezTo>
                  <a:pt x="2603" y="7562"/>
                  <a:pt x="2605" y="7610"/>
                  <a:pt x="2607" y="7655"/>
                </a:cubicBezTo>
                <a:lnTo>
                  <a:pt x="2607" y="7655"/>
                </a:lnTo>
                <a:cubicBezTo>
                  <a:pt x="2607" y="7661"/>
                  <a:pt x="2607" y="7667"/>
                  <a:pt x="2608" y="7674"/>
                </a:cubicBezTo>
                <a:lnTo>
                  <a:pt x="2608" y="7674"/>
                </a:lnTo>
                <a:cubicBezTo>
                  <a:pt x="2608" y="7689"/>
                  <a:pt x="2609" y="7704"/>
                  <a:pt x="2610" y="7718"/>
                </a:cubicBezTo>
                <a:lnTo>
                  <a:pt x="2610" y="7718"/>
                </a:lnTo>
                <a:cubicBezTo>
                  <a:pt x="2610" y="7734"/>
                  <a:pt x="2612" y="7748"/>
                  <a:pt x="2612" y="7761"/>
                </a:cubicBezTo>
                <a:lnTo>
                  <a:pt x="2612" y="7761"/>
                </a:lnTo>
                <a:cubicBezTo>
                  <a:pt x="2613" y="7788"/>
                  <a:pt x="2614" y="7813"/>
                  <a:pt x="2615" y="7836"/>
                </a:cubicBezTo>
                <a:lnTo>
                  <a:pt x="2615" y="7836"/>
                </a:lnTo>
                <a:cubicBezTo>
                  <a:pt x="2616" y="7852"/>
                  <a:pt x="2617" y="7868"/>
                  <a:pt x="2617" y="7882"/>
                </a:cubicBezTo>
                <a:lnTo>
                  <a:pt x="2617" y="7882"/>
                </a:lnTo>
                <a:cubicBezTo>
                  <a:pt x="2618" y="7900"/>
                  <a:pt x="2619" y="7916"/>
                  <a:pt x="2620" y="7932"/>
                </a:cubicBezTo>
                <a:lnTo>
                  <a:pt x="2620" y="7932"/>
                </a:lnTo>
                <a:cubicBezTo>
                  <a:pt x="2620" y="7950"/>
                  <a:pt x="2622" y="7967"/>
                  <a:pt x="2622" y="7981"/>
                </a:cubicBezTo>
                <a:lnTo>
                  <a:pt x="2622" y="7981"/>
                </a:lnTo>
                <a:cubicBezTo>
                  <a:pt x="2622" y="7986"/>
                  <a:pt x="2622" y="7991"/>
                  <a:pt x="2623" y="7995"/>
                </a:cubicBezTo>
                <a:lnTo>
                  <a:pt x="2623" y="7995"/>
                </a:lnTo>
                <a:cubicBezTo>
                  <a:pt x="2623" y="8000"/>
                  <a:pt x="2623" y="8006"/>
                  <a:pt x="2623" y="8010"/>
                </a:cubicBezTo>
                <a:lnTo>
                  <a:pt x="2623" y="8010"/>
                </a:lnTo>
                <a:cubicBezTo>
                  <a:pt x="2623" y="8014"/>
                  <a:pt x="2623" y="8019"/>
                  <a:pt x="2624" y="8022"/>
                </a:cubicBezTo>
                <a:lnTo>
                  <a:pt x="2624" y="8022"/>
                </a:lnTo>
                <a:cubicBezTo>
                  <a:pt x="2624" y="8024"/>
                  <a:pt x="2624" y="8026"/>
                  <a:pt x="2624" y="8027"/>
                </a:cubicBezTo>
                <a:lnTo>
                  <a:pt x="2624" y="8027"/>
                </a:lnTo>
                <a:cubicBezTo>
                  <a:pt x="2624" y="8029"/>
                  <a:pt x="2624" y="8031"/>
                  <a:pt x="2624" y="8032"/>
                </a:cubicBezTo>
                <a:lnTo>
                  <a:pt x="2624" y="8032"/>
                </a:lnTo>
                <a:cubicBezTo>
                  <a:pt x="2624" y="8034"/>
                  <a:pt x="2624" y="8035"/>
                  <a:pt x="2624" y="8036"/>
                </a:cubicBezTo>
                <a:lnTo>
                  <a:pt x="2624" y="8036"/>
                </a:lnTo>
                <a:cubicBezTo>
                  <a:pt x="2624" y="8037"/>
                  <a:pt x="2624" y="8037"/>
                  <a:pt x="2624" y="8037"/>
                </a:cubicBezTo>
                <a:lnTo>
                  <a:pt x="2624" y="8037"/>
                </a:lnTo>
                <a:cubicBezTo>
                  <a:pt x="2647" y="8050"/>
                  <a:pt x="2670" y="8060"/>
                  <a:pt x="2692" y="8067"/>
                </a:cubicBezTo>
                <a:lnTo>
                  <a:pt x="2623" y="8093"/>
                </a:lnTo>
                <a:lnTo>
                  <a:pt x="2623" y="8093"/>
                </a:lnTo>
                <a:cubicBezTo>
                  <a:pt x="2623" y="8093"/>
                  <a:pt x="2243" y="8036"/>
                  <a:pt x="2085" y="8148"/>
                </a:cubicBezTo>
                <a:lnTo>
                  <a:pt x="2085" y="8148"/>
                </a:lnTo>
                <a:cubicBezTo>
                  <a:pt x="2084" y="8148"/>
                  <a:pt x="2083" y="8149"/>
                  <a:pt x="2082" y="8150"/>
                </a:cubicBezTo>
                <a:lnTo>
                  <a:pt x="2082" y="8150"/>
                </a:lnTo>
                <a:cubicBezTo>
                  <a:pt x="2079" y="8152"/>
                  <a:pt x="2075" y="8155"/>
                  <a:pt x="2072" y="8158"/>
                </a:cubicBezTo>
                <a:lnTo>
                  <a:pt x="2072" y="8158"/>
                </a:lnTo>
                <a:cubicBezTo>
                  <a:pt x="2072" y="8158"/>
                  <a:pt x="2072" y="8158"/>
                  <a:pt x="2071" y="8158"/>
                </a:cubicBezTo>
                <a:lnTo>
                  <a:pt x="2071" y="8158"/>
                </a:lnTo>
                <a:cubicBezTo>
                  <a:pt x="2047" y="8179"/>
                  <a:pt x="2028" y="8205"/>
                  <a:pt x="2021" y="8238"/>
                </a:cubicBezTo>
                <a:lnTo>
                  <a:pt x="2021" y="8238"/>
                </a:lnTo>
                <a:cubicBezTo>
                  <a:pt x="2020" y="8242"/>
                  <a:pt x="2019" y="8245"/>
                  <a:pt x="2019" y="8249"/>
                </a:cubicBezTo>
                <a:lnTo>
                  <a:pt x="2019" y="8249"/>
                </a:lnTo>
                <a:cubicBezTo>
                  <a:pt x="2018" y="8251"/>
                  <a:pt x="2018" y="8254"/>
                  <a:pt x="2018" y="8256"/>
                </a:cubicBezTo>
                <a:lnTo>
                  <a:pt x="2018" y="8256"/>
                </a:lnTo>
                <a:lnTo>
                  <a:pt x="2018" y="8256"/>
                </a:lnTo>
                <a:lnTo>
                  <a:pt x="2018" y="8256"/>
                </a:lnTo>
                <a:cubicBezTo>
                  <a:pt x="2018" y="8256"/>
                  <a:pt x="2018" y="8257"/>
                  <a:pt x="2018" y="8258"/>
                </a:cubicBezTo>
                <a:lnTo>
                  <a:pt x="2018" y="8258"/>
                </a:lnTo>
                <a:cubicBezTo>
                  <a:pt x="2018" y="8268"/>
                  <a:pt x="2021" y="8277"/>
                  <a:pt x="2025" y="8285"/>
                </a:cubicBezTo>
                <a:lnTo>
                  <a:pt x="2025" y="8285"/>
                </a:lnTo>
                <a:cubicBezTo>
                  <a:pt x="2025" y="8285"/>
                  <a:pt x="2026" y="8285"/>
                  <a:pt x="2026" y="8286"/>
                </a:cubicBezTo>
                <a:lnTo>
                  <a:pt x="2026" y="8286"/>
                </a:lnTo>
                <a:cubicBezTo>
                  <a:pt x="2027" y="8288"/>
                  <a:pt x="2029" y="8291"/>
                  <a:pt x="2031" y="8293"/>
                </a:cubicBezTo>
                <a:lnTo>
                  <a:pt x="2031" y="8293"/>
                </a:lnTo>
                <a:cubicBezTo>
                  <a:pt x="2031" y="8294"/>
                  <a:pt x="2031" y="8294"/>
                  <a:pt x="2032" y="8295"/>
                </a:cubicBezTo>
                <a:lnTo>
                  <a:pt x="2032" y="8295"/>
                </a:lnTo>
                <a:cubicBezTo>
                  <a:pt x="2034" y="8296"/>
                  <a:pt x="2035" y="8298"/>
                  <a:pt x="2037" y="8300"/>
                </a:cubicBezTo>
                <a:lnTo>
                  <a:pt x="2037" y="8300"/>
                </a:lnTo>
                <a:cubicBezTo>
                  <a:pt x="2038" y="8301"/>
                  <a:pt x="2038" y="8301"/>
                  <a:pt x="2039" y="8302"/>
                </a:cubicBezTo>
                <a:lnTo>
                  <a:pt x="2039" y="8302"/>
                </a:lnTo>
                <a:cubicBezTo>
                  <a:pt x="2041" y="8304"/>
                  <a:pt x="2043" y="8305"/>
                  <a:pt x="2045" y="8306"/>
                </a:cubicBezTo>
                <a:lnTo>
                  <a:pt x="2045" y="8306"/>
                </a:lnTo>
                <a:cubicBezTo>
                  <a:pt x="2046" y="8307"/>
                  <a:pt x="2047" y="8307"/>
                  <a:pt x="2047" y="8308"/>
                </a:cubicBezTo>
                <a:lnTo>
                  <a:pt x="2047" y="8308"/>
                </a:lnTo>
                <a:cubicBezTo>
                  <a:pt x="2050" y="8310"/>
                  <a:pt x="2052" y="8312"/>
                  <a:pt x="2055" y="8313"/>
                </a:cubicBezTo>
                <a:lnTo>
                  <a:pt x="2055" y="8313"/>
                </a:lnTo>
                <a:cubicBezTo>
                  <a:pt x="2056" y="8314"/>
                  <a:pt x="2056" y="8314"/>
                  <a:pt x="2057" y="8314"/>
                </a:cubicBezTo>
                <a:lnTo>
                  <a:pt x="2057" y="8314"/>
                </a:lnTo>
                <a:cubicBezTo>
                  <a:pt x="2193" y="8386"/>
                  <a:pt x="2656" y="8285"/>
                  <a:pt x="2806" y="8249"/>
                </a:cubicBezTo>
                <a:lnTo>
                  <a:pt x="2806" y="8249"/>
                </a:lnTo>
                <a:cubicBezTo>
                  <a:pt x="2809" y="8248"/>
                  <a:pt x="2812" y="8248"/>
                  <a:pt x="2815" y="8246"/>
                </a:cubicBezTo>
                <a:lnTo>
                  <a:pt x="2815" y="8246"/>
                </a:lnTo>
                <a:cubicBezTo>
                  <a:pt x="2821" y="8245"/>
                  <a:pt x="2827" y="8244"/>
                  <a:pt x="2831" y="8243"/>
                </a:cubicBezTo>
                <a:lnTo>
                  <a:pt x="2831" y="8243"/>
                </a:lnTo>
                <a:cubicBezTo>
                  <a:pt x="2845" y="8239"/>
                  <a:pt x="2853" y="8237"/>
                  <a:pt x="2853" y="8237"/>
                </a:cubicBezTo>
                <a:lnTo>
                  <a:pt x="2854" y="8087"/>
                </a:lnTo>
                <a:lnTo>
                  <a:pt x="2854" y="8087"/>
                </a:lnTo>
                <a:cubicBezTo>
                  <a:pt x="2941" y="8077"/>
                  <a:pt x="2997" y="8036"/>
                  <a:pt x="2997" y="8036"/>
                </a:cubicBezTo>
                <a:lnTo>
                  <a:pt x="2997" y="8036"/>
                </a:lnTo>
                <a:cubicBezTo>
                  <a:pt x="2997" y="8033"/>
                  <a:pt x="2997" y="8030"/>
                  <a:pt x="2997" y="8027"/>
                </a:cubicBezTo>
                <a:lnTo>
                  <a:pt x="2997" y="8027"/>
                </a:lnTo>
                <a:cubicBezTo>
                  <a:pt x="2997" y="8026"/>
                  <a:pt x="2997" y="8025"/>
                  <a:pt x="2997" y="8024"/>
                </a:cubicBezTo>
                <a:lnTo>
                  <a:pt x="2997" y="8024"/>
                </a:lnTo>
                <a:cubicBezTo>
                  <a:pt x="2998" y="8022"/>
                  <a:pt x="2998" y="8020"/>
                  <a:pt x="2998" y="8018"/>
                </a:cubicBezTo>
                <a:lnTo>
                  <a:pt x="2998" y="8018"/>
                </a:lnTo>
                <a:cubicBezTo>
                  <a:pt x="2998" y="8016"/>
                  <a:pt x="2998" y="8015"/>
                  <a:pt x="2998" y="8014"/>
                </a:cubicBezTo>
                <a:lnTo>
                  <a:pt x="2998" y="8014"/>
                </a:lnTo>
                <a:cubicBezTo>
                  <a:pt x="2999" y="8012"/>
                  <a:pt x="2999" y="8010"/>
                  <a:pt x="2999" y="8007"/>
                </a:cubicBezTo>
                <a:lnTo>
                  <a:pt x="2999" y="8007"/>
                </a:lnTo>
                <a:cubicBezTo>
                  <a:pt x="2999" y="8006"/>
                  <a:pt x="2999" y="8004"/>
                  <a:pt x="2999" y="8003"/>
                </a:cubicBezTo>
                <a:lnTo>
                  <a:pt x="2999" y="8003"/>
                </a:lnTo>
                <a:cubicBezTo>
                  <a:pt x="2999" y="8001"/>
                  <a:pt x="2999" y="7999"/>
                  <a:pt x="2999" y="7997"/>
                </a:cubicBezTo>
                <a:lnTo>
                  <a:pt x="2999" y="7997"/>
                </a:lnTo>
                <a:cubicBezTo>
                  <a:pt x="2999" y="7995"/>
                  <a:pt x="2999" y="7993"/>
                  <a:pt x="2999" y="7992"/>
                </a:cubicBezTo>
                <a:lnTo>
                  <a:pt x="2999" y="7992"/>
                </a:lnTo>
                <a:cubicBezTo>
                  <a:pt x="2999" y="7990"/>
                  <a:pt x="2999" y="7988"/>
                  <a:pt x="2999" y="7985"/>
                </a:cubicBezTo>
                <a:lnTo>
                  <a:pt x="2999" y="7985"/>
                </a:lnTo>
                <a:cubicBezTo>
                  <a:pt x="2999" y="7983"/>
                  <a:pt x="2999" y="7982"/>
                  <a:pt x="2999" y="7980"/>
                </a:cubicBezTo>
                <a:lnTo>
                  <a:pt x="2999" y="7980"/>
                </a:lnTo>
                <a:cubicBezTo>
                  <a:pt x="2999" y="7978"/>
                  <a:pt x="2999" y="7975"/>
                  <a:pt x="2999" y="7973"/>
                </a:cubicBezTo>
                <a:lnTo>
                  <a:pt x="2999" y="7973"/>
                </a:lnTo>
                <a:cubicBezTo>
                  <a:pt x="2999" y="7971"/>
                  <a:pt x="2999" y="7969"/>
                  <a:pt x="2999" y="7968"/>
                </a:cubicBezTo>
                <a:lnTo>
                  <a:pt x="2999" y="7968"/>
                </a:lnTo>
                <a:cubicBezTo>
                  <a:pt x="2999" y="7965"/>
                  <a:pt x="2999" y="7962"/>
                  <a:pt x="2999" y="7960"/>
                </a:cubicBezTo>
                <a:lnTo>
                  <a:pt x="2999" y="7960"/>
                </a:lnTo>
                <a:cubicBezTo>
                  <a:pt x="2999" y="7958"/>
                  <a:pt x="2999" y="7956"/>
                  <a:pt x="2999" y="7954"/>
                </a:cubicBezTo>
                <a:lnTo>
                  <a:pt x="2999" y="7954"/>
                </a:lnTo>
                <a:cubicBezTo>
                  <a:pt x="2999" y="7952"/>
                  <a:pt x="2999" y="7949"/>
                  <a:pt x="2999" y="7946"/>
                </a:cubicBezTo>
                <a:lnTo>
                  <a:pt x="2999" y="7946"/>
                </a:lnTo>
                <a:cubicBezTo>
                  <a:pt x="2999" y="7944"/>
                  <a:pt x="2999" y="7942"/>
                  <a:pt x="2999" y="7940"/>
                </a:cubicBezTo>
                <a:lnTo>
                  <a:pt x="2999" y="7940"/>
                </a:lnTo>
                <a:cubicBezTo>
                  <a:pt x="2999" y="7938"/>
                  <a:pt x="2999" y="7935"/>
                  <a:pt x="2999" y="7932"/>
                </a:cubicBezTo>
                <a:lnTo>
                  <a:pt x="2999" y="7932"/>
                </a:lnTo>
                <a:cubicBezTo>
                  <a:pt x="2999" y="7930"/>
                  <a:pt x="2999" y="7928"/>
                  <a:pt x="2999" y="7926"/>
                </a:cubicBezTo>
                <a:lnTo>
                  <a:pt x="2999" y="7926"/>
                </a:lnTo>
                <a:cubicBezTo>
                  <a:pt x="2999" y="7923"/>
                  <a:pt x="2999" y="7920"/>
                  <a:pt x="2999" y="7916"/>
                </a:cubicBezTo>
                <a:lnTo>
                  <a:pt x="2999" y="7916"/>
                </a:lnTo>
                <a:cubicBezTo>
                  <a:pt x="2999" y="7915"/>
                  <a:pt x="2999" y="7913"/>
                  <a:pt x="2999" y="7911"/>
                </a:cubicBezTo>
                <a:lnTo>
                  <a:pt x="2999" y="7911"/>
                </a:lnTo>
                <a:cubicBezTo>
                  <a:pt x="2999" y="7908"/>
                  <a:pt x="2999" y="7904"/>
                  <a:pt x="2999" y="7900"/>
                </a:cubicBezTo>
                <a:lnTo>
                  <a:pt x="2999" y="7900"/>
                </a:lnTo>
                <a:cubicBezTo>
                  <a:pt x="2999" y="7899"/>
                  <a:pt x="2999" y="7897"/>
                  <a:pt x="2999" y="7895"/>
                </a:cubicBezTo>
                <a:lnTo>
                  <a:pt x="2999" y="7895"/>
                </a:lnTo>
                <a:cubicBezTo>
                  <a:pt x="2999" y="7892"/>
                  <a:pt x="2999" y="7888"/>
                  <a:pt x="2998" y="7884"/>
                </a:cubicBezTo>
                <a:lnTo>
                  <a:pt x="2998" y="7884"/>
                </a:lnTo>
                <a:cubicBezTo>
                  <a:pt x="2998" y="7882"/>
                  <a:pt x="2998" y="7881"/>
                  <a:pt x="2998" y="7879"/>
                </a:cubicBezTo>
                <a:lnTo>
                  <a:pt x="2998" y="7879"/>
                </a:lnTo>
                <a:cubicBezTo>
                  <a:pt x="2998" y="7875"/>
                  <a:pt x="2998" y="7871"/>
                  <a:pt x="2998" y="7867"/>
                </a:cubicBezTo>
                <a:lnTo>
                  <a:pt x="2998" y="7867"/>
                </a:lnTo>
                <a:cubicBezTo>
                  <a:pt x="2998" y="7865"/>
                  <a:pt x="2998" y="7863"/>
                  <a:pt x="2997" y="7862"/>
                </a:cubicBezTo>
                <a:lnTo>
                  <a:pt x="2997" y="7862"/>
                </a:lnTo>
                <a:cubicBezTo>
                  <a:pt x="2997" y="7858"/>
                  <a:pt x="2997" y="7853"/>
                  <a:pt x="2997" y="7849"/>
                </a:cubicBezTo>
                <a:lnTo>
                  <a:pt x="2997" y="7849"/>
                </a:lnTo>
                <a:cubicBezTo>
                  <a:pt x="2997" y="7848"/>
                  <a:pt x="2997" y="7847"/>
                  <a:pt x="2997" y="7845"/>
                </a:cubicBezTo>
                <a:lnTo>
                  <a:pt x="2997" y="7845"/>
                </a:lnTo>
                <a:cubicBezTo>
                  <a:pt x="2997" y="7840"/>
                  <a:pt x="2997" y="7835"/>
                  <a:pt x="2997" y="7830"/>
                </a:cubicBezTo>
                <a:lnTo>
                  <a:pt x="2997" y="7830"/>
                </a:lnTo>
                <a:cubicBezTo>
                  <a:pt x="2997" y="7829"/>
                  <a:pt x="2996" y="7828"/>
                  <a:pt x="2996" y="7827"/>
                </a:cubicBezTo>
                <a:lnTo>
                  <a:pt x="2996" y="7827"/>
                </a:lnTo>
                <a:cubicBezTo>
                  <a:pt x="2996" y="7821"/>
                  <a:pt x="2996" y="7816"/>
                  <a:pt x="2996" y="7811"/>
                </a:cubicBezTo>
                <a:lnTo>
                  <a:pt x="2996" y="7811"/>
                </a:lnTo>
                <a:cubicBezTo>
                  <a:pt x="2996" y="7809"/>
                  <a:pt x="2996" y="7809"/>
                  <a:pt x="2996" y="7808"/>
                </a:cubicBezTo>
                <a:lnTo>
                  <a:pt x="2996" y="7808"/>
                </a:lnTo>
                <a:cubicBezTo>
                  <a:pt x="2996" y="7802"/>
                  <a:pt x="2995" y="7796"/>
                  <a:pt x="2995" y="7789"/>
                </a:cubicBezTo>
                <a:lnTo>
                  <a:pt x="2995" y="7789"/>
                </a:lnTo>
                <a:lnTo>
                  <a:pt x="2995" y="7789"/>
                </a:lnTo>
                <a:lnTo>
                  <a:pt x="2995" y="7789"/>
                </a:lnTo>
                <a:cubicBezTo>
                  <a:pt x="2990" y="7680"/>
                  <a:pt x="2982" y="7544"/>
                  <a:pt x="2973" y="7393"/>
                </a:cubicBezTo>
                <a:lnTo>
                  <a:pt x="2973" y="7393"/>
                </a:lnTo>
                <a:cubicBezTo>
                  <a:pt x="3198" y="7494"/>
                  <a:pt x="3389" y="7542"/>
                  <a:pt x="3564" y="7552"/>
                </a:cubicBezTo>
                <a:lnTo>
                  <a:pt x="3564" y="7552"/>
                </a:lnTo>
                <a:cubicBezTo>
                  <a:pt x="3608" y="7756"/>
                  <a:pt x="3641" y="7915"/>
                  <a:pt x="3658" y="7994"/>
                </a:cubicBezTo>
                <a:lnTo>
                  <a:pt x="3658" y="7994"/>
                </a:lnTo>
                <a:cubicBezTo>
                  <a:pt x="3658" y="7995"/>
                  <a:pt x="3658" y="7996"/>
                  <a:pt x="3658" y="7997"/>
                </a:cubicBezTo>
                <a:lnTo>
                  <a:pt x="3658" y="7997"/>
                </a:lnTo>
                <a:cubicBezTo>
                  <a:pt x="3661" y="8009"/>
                  <a:pt x="3663" y="8019"/>
                  <a:pt x="3665" y="8026"/>
                </a:cubicBezTo>
                <a:lnTo>
                  <a:pt x="3665" y="8026"/>
                </a:lnTo>
                <a:cubicBezTo>
                  <a:pt x="3665" y="8027"/>
                  <a:pt x="3665" y="8027"/>
                  <a:pt x="3665" y="8028"/>
                </a:cubicBezTo>
                <a:lnTo>
                  <a:pt x="3665" y="8028"/>
                </a:lnTo>
                <a:cubicBezTo>
                  <a:pt x="3666" y="8033"/>
                  <a:pt x="3667" y="8038"/>
                  <a:pt x="3668" y="8041"/>
                </a:cubicBezTo>
                <a:lnTo>
                  <a:pt x="3668" y="8041"/>
                </a:lnTo>
                <a:cubicBezTo>
                  <a:pt x="3668" y="8043"/>
                  <a:pt x="3668" y="8043"/>
                  <a:pt x="3668" y="8044"/>
                </a:cubicBezTo>
                <a:lnTo>
                  <a:pt x="3668" y="8044"/>
                </a:lnTo>
                <a:lnTo>
                  <a:pt x="3669" y="8045"/>
                </a:lnTo>
                <a:lnTo>
                  <a:pt x="3669" y="8045"/>
                </a:lnTo>
                <a:cubicBezTo>
                  <a:pt x="3669" y="8048"/>
                  <a:pt x="3669" y="8049"/>
                  <a:pt x="3669" y="8049"/>
                </a:cubicBezTo>
                <a:lnTo>
                  <a:pt x="3669" y="8049"/>
                </a:lnTo>
                <a:cubicBezTo>
                  <a:pt x="3669" y="8049"/>
                  <a:pt x="3692" y="8050"/>
                  <a:pt x="3720" y="8051"/>
                </a:cubicBezTo>
                <a:lnTo>
                  <a:pt x="3719" y="8158"/>
                </a:lnTo>
                <a:lnTo>
                  <a:pt x="3719" y="8158"/>
                </a:lnTo>
                <a:lnTo>
                  <a:pt x="3718" y="8215"/>
                </a:lnTo>
                <a:lnTo>
                  <a:pt x="3718" y="8215"/>
                </a:lnTo>
                <a:cubicBezTo>
                  <a:pt x="3718" y="8215"/>
                  <a:pt x="3726" y="8216"/>
                  <a:pt x="3740" y="8221"/>
                </a:cubicBezTo>
                <a:lnTo>
                  <a:pt x="3740" y="8221"/>
                </a:lnTo>
                <a:cubicBezTo>
                  <a:pt x="3744" y="8222"/>
                  <a:pt x="3750" y="8223"/>
                  <a:pt x="3756" y="8225"/>
                </a:cubicBezTo>
                <a:lnTo>
                  <a:pt x="3756" y="8225"/>
                </a:lnTo>
                <a:cubicBezTo>
                  <a:pt x="3759" y="8225"/>
                  <a:pt x="3762" y="8226"/>
                  <a:pt x="3765" y="8227"/>
                </a:cubicBezTo>
                <a:lnTo>
                  <a:pt x="3765" y="8227"/>
                </a:lnTo>
                <a:cubicBezTo>
                  <a:pt x="3915" y="8265"/>
                  <a:pt x="4376" y="8373"/>
                  <a:pt x="4513" y="8303"/>
                </a:cubicBezTo>
                <a:lnTo>
                  <a:pt x="4513" y="8303"/>
                </a:lnTo>
                <a:cubicBezTo>
                  <a:pt x="4514" y="8302"/>
                  <a:pt x="4514" y="8302"/>
                  <a:pt x="4514" y="8302"/>
                </a:cubicBezTo>
                <a:lnTo>
                  <a:pt x="4514" y="8302"/>
                </a:lnTo>
                <a:cubicBezTo>
                  <a:pt x="4517" y="8301"/>
                  <a:pt x="4520" y="8299"/>
                  <a:pt x="4523" y="8297"/>
                </a:cubicBezTo>
                <a:lnTo>
                  <a:pt x="4523" y="8297"/>
                </a:lnTo>
                <a:lnTo>
                  <a:pt x="4524" y="8296"/>
                </a:lnTo>
                <a:lnTo>
                  <a:pt x="4524" y="8296"/>
                </a:lnTo>
                <a:cubicBezTo>
                  <a:pt x="4527" y="8294"/>
                  <a:pt x="4529" y="8293"/>
                  <a:pt x="4531" y="8291"/>
                </a:cubicBezTo>
                <a:lnTo>
                  <a:pt x="4531" y="8291"/>
                </a:lnTo>
                <a:cubicBezTo>
                  <a:pt x="4531" y="8291"/>
                  <a:pt x="4532" y="8290"/>
                  <a:pt x="4533" y="8289"/>
                </a:cubicBezTo>
                <a:lnTo>
                  <a:pt x="4533" y="8289"/>
                </a:lnTo>
                <a:cubicBezTo>
                  <a:pt x="4535" y="8287"/>
                  <a:pt x="4537" y="8286"/>
                  <a:pt x="4538" y="8284"/>
                </a:cubicBezTo>
                <a:lnTo>
                  <a:pt x="4538" y="8284"/>
                </a:lnTo>
                <a:cubicBezTo>
                  <a:pt x="4538" y="8284"/>
                  <a:pt x="4539" y="8283"/>
                  <a:pt x="4540" y="8282"/>
                </a:cubicBezTo>
                <a:lnTo>
                  <a:pt x="4540" y="8282"/>
                </a:lnTo>
                <a:cubicBezTo>
                  <a:pt x="4541" y="8280"/>
                  <a:pt x="4543" y="8277"/>
                  <a:pt x="4544" y="8275"/>
                </a:cubicBezTo>
                <a:lnTo>
                  <a:pt x="4544" y="8275"/>
                </a:lnTo>
                <a:cubicBezTo>
                  <a:pt x="4544" y="8275"/>
                  <a:pt x="4544" y="8275"/>
                  <a:pt x="4545" y="8275"/>
                </a:cubicBezTo>
                <a:lnTo>
                  <a:pt x="4545" y="8275"/>
                </a:lnTo>
                <a:cubicBezTo>
                  <a:pt x="4549" y="8267"/>
                  <a:pt x="4552" y="8257"/>
                  <a:pt x="4552" y="8248"/>
                </a:cubicBezTo>
                <a:lnTo>
                  <a:pt x="4552" y="8248"/>
                </a:lnTo>
                <a:cubicBezTo>
                  <a:pt x="4552" y="8247"/>
                  <a:pt x="4552" y="8246"/>
                  <a:pt x="4552" y="8245"/>
                </a:cubicBezTo>
                <a:lnTo>
                  <a:pt x="4552" y="8245"/>
                </a:lnTo>
                <a:lnTo>
                  <a:pt x="4552" y="8245"/>
                </a:lnTo>
                <a:cubicBezTo>
                  <a:pt x="4552" y="8243"/>
                  <a:pt x="4552" y="8241"/>
                  <a:pt x="4552" y="8238"/>
                </a:cubicBezTo>
                <a:lnTo>
                  <a:pt x="4552" y="8238"/>
                </a:lnTo>
                <a:cubicBezTo>
                  <a:pt x="4551" y="8235"/>
                  <a:pt x="4551" y="8231"/>
                  <a:pt x="4550" y="8228"/>
                </a:cubicBezTo>
                <a:lnTo>
                  <a:pt x="4550" y="8228"/>
                </a:lnTo>
                <a:cubicBezTo>
                  <a:pt x="4543" y="8195"/>
                  <a:pt x="4526" y="8168"/>
                  <a:pt x="4501" y="8147"/>
                </a:cubicBezTo>
                <a:lnTo>
                  <a:pt x="4501" y="8147"/>
                </a:lnTo>
                <a:cubicBezTo>
                  <a:pt x="4500" y="8147"/>
                  <a:pt x="4500" y="8147"/>
                  <a:pt x="4500" y="8147"/>
                </a:cubicBezTo>
                <a:lnTo>
                  <a:pt x="4500" y="8147"/>
                </a:lnTo>
                <a:cubicBezTo>
                  <a:pt x="4497" y="8144"/>
                  <a:pt x="4494" y="8141"/>
                  <a:pt x="4490" y="8138"/>
                </a:cubicBezTo>
                <a:lnTo>
                  <a:pt x="4490" y="8138"/>
                </a:lnTo>
                <a:cubicBezTo>
                  <a:pt x="4489" y="8138"/>
                  <a:pt x="4489" y="8137"/>
                  <a:pt x="4488" y="8137"/>
                </a:cubicBezTo>
                <a:lnTo>
                  <a:pt x="4488" y="8137"/>
                </a:lnTo>
                <a:cubicBezTo>
                  <a:pt x="4331" y="8022"/>
                  <a:pt x="3950" y="8073"/>
                  <a:pt x="3950" y="8073"/>
                </a:cubicBezTo>
                <a:lnTo>
                  <a:pt x="3916" y="8060"/>
                </a:lnTo>
                <a:lnTo>
                  <a:pt x="3916" y="8060"/>
                </a:lnTo>
                <a:lnTo>
                  <a:pt x="3865" y="8041"/>
                </a:lnTo>
                <a:lnTo>
                  <a:pt x="3865" y="8041"/>
                </a:lnTo>
                <a:cubicBezTo>
                  <a:pt x="3912" y="8032"/>
                  <a:pt x="3966" y="8019"/>
                  <a:pt x="3966" y="8019"/>
                </a:cubicBezTo>
                <a:lnTo>
                  <a:pt x="3966" y="8019"/>
                </a:lnTo>
                <a:cubicBezTo>
                  <a:pt x="3965" y="8007"/>
                  <a:pt x="3963" y="7996"/>
                  <a:pt x="3962" y="7985"/>
                </a:cubicBezTo>
                <a:lnTo>
                  <a:pt x="3962" y="7985"/>
                </a:lnTo>
                <a:cubicBezTo>
                  <a:pt x="3941" y="7838"/>
                  <a:pt x="3918" y="7685"/>
                  <a:pt x="3893" y="7526"/>
                </a:cubicBezTo>
                <a:lnTo>
                  <a:pt x="3893" y="7526"/>
                </a:lnTo>
                <a:cubicBezTo>
                  <a:pt x="4120" y="7477"/>
                  <a:pt x="4330" y="7370"/>
                  <a:pt x="4570" y="7248"/>
                </a:cubicBezTo>
                <a:lnTo>
                  <a:pt x="4570" y="7248"/>
                </a:lnTo>
                <a:cubicBezTo>
                  <a:pt x="4584" y="7241"/>
                  <a:pt x="4599" y="7233"/>
                  <a:pt x="4613" y="7226"/>
                </a:cubicBezTo>
                <a:lnTo>
                  <a:pt x="4613" y="7226"/>
                </a:lnTo>
                <a:cubicBezTo>
                  <a:pt x="4618" y="7224"/>
                  <a:pt x="4623" y="7222"/>
                  <a:pt x="4628" y="7219"/>
                </a:cubicBezTo>
                <a:lnTo>
                  <a:pt x="4628" y="7219"/>
                </a:lnTo>
                <a:cubicBezTo>
                  <a:pt x="4645" y="7210"/>
                  <a:pt x="4663" y="7201"/>
                  <a:pt x="4681" y="7192"/>
                </a:cubicBezTo>
                <a:lnTo>
                  <a:pt x="4681" y="7192"/>
                </a:lnTo>
                <a:cubicBezTo>
                  <a:pt x="4685" y="7190"/>
                  <a:pt x="4688" y="7189"/>
                  <a:pt x="4691" y="7187"/>
                </a:cubicBezTo>
                <a:lnTo>
                  <a:pt x="4691" y="7187"/>
                </a:lnTo>
                <a:cubicBezTo>
                  <a:pt x="4710" y="7178"/>
                  <a:pt x="4729" y="7168"/>
                  <a:pt x="4749" y="7158"/>
                </a:cubicBezTo>
                <a:lnTo>
                  <a:pt x="4749" y="7158"/>
                </a:lnTo>
                <a:cubicBezTo>
                  <a:pt x="4752" y="7157"/>
                  <a:pt x="4754" y="7156"/>
                  <a:pt x="4756" y="7155"/>
                </a:cubicBezTo>
                <a:lnTo>
                  <a:pt x="4756" y="7155"/>
                </a:lnTo>
                <a:cubicBezTo>
                  <a:pt x="4778" y="7144"/>
                  <a:pt x="4799" y="7134"/>
                  <a:pt x="4820" y="7123"/>
                </a:cubicBezTo>
                <a:lnTo>
                  <a:pt x="4820" y="7123"/>
                </a:lnTo>
                <a:cubicBezTo>
                  <a:pt x="4822" y="7123"/>
                  <a:pt x="4822" y="7123"/>
                  <a:pt x="4823" y="7122"/>
                </a:cubicBezTo>
                <a:lnTo>
                  <a:pt x="4823" y="7122"/>
                </a:lnTo>
                <a:cubicBezTo>
                  <a:pt x="4830" y="7119"/>
                  <a:pt x="4838" y="7115"/>
                  <a:pt x="4846" y="7112"/>
                </a:cubicBezTo>
                <a:lnTo>
                  <a:pt x="4846" y="7112"/>
                </a:lnTo>
                <a:cubicBezTo>
                  <a:pt x="4850" y="7109"/>
                  <a:pt x="4856" y="7107"/>
                  <a:pt x="4860" y="7105"/>
                </a:cubicBezTo>
                <a:lnTo>
                  <a:pt x="4860" y="7105"/>
                </a:lnTo>
                <a:cubicBezTo>
                  <a:pt x="4869" y="7101"/>
                  <a:pt x="4876" y="7097"/>
                  <a:pt x="4884" y="7093"/>
                </a:cubicBezTo>
              </a:path>
            </a:pathLst>
          </a:custGeom>
          <a:solidFill>
            <a:srgbClr val="BECAD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Roboto Light" panose="02000000000000000000" pitchFamily="2" charset="0"/>
            </a:endParaRPr>
          </a:p>
        </p:txBody>
      </p:sp>
      <p:sp>
        <p:nvSpPr>
          <p:cNvPr id="22" name="Freeform 9">
            <a:extLst>
              <a:ext uri="{FF2B5EF4-FFF2-40B4-BE49-F238E27FC236}">
                <a16:creationId xmlns:a16="http://schemas.microsoft.com/office/drawing/2014/main" id="{E3BED62D-278F-DD48-BD60-CFFC9B789334}"/>
              </a:ext>
            </a:extLst>
          </p:cNvPr>
          <p:cNvSpPr>
            <a:spLocks noChangeAspect="1"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03825" y="4893459"/>
            <a:ext cx="641575" cy="1015931"/>
          </a:xfrm>
          <a:custGeom>
            <a:avLst/>
            <a:gdLst>
              <a:gd name="T0" fmla="*/ 1846 w 4596"/>
              <a:gd name="T1" fmla="*/ 4900 h 7275"/>
              <a:gd name="T2" fmla="*/ 1967 w 4596"/>
              <a:gd name="T3" fmla="*/ 4914 h 7275"/>
              <a:gd name="T4" fmla="*/ 2102 w 4596"/>
              <a:gd name="T5" fmla="*/ 5021 h 7275"/>
              <a:gd name="T6" fmla="*/ 2056 w 4596"/>
              <a:gd name="T7" fmla="*/ 6089 h 7275"/>
              <a:gd name="T8" fmla="*/ 2098 w 4596"/>
              <a:gd name="T9" fmla="*/ 6195 h 7275"/>
              <a:gd name="T10" fmla="*/ 2166 w 4596"/>
              <a:gd name="T11" fmla="*/ 6308 h 7275"/>
              <a:gd name="T12" fmla="*/ 4280 w 4596"/>
              <a:gd name="T13" fmla="*/ 1320 h 7275"/>
              <a:gd name="T14" fmla="*/ 4126 w 4596"/>
              <a:gd name="T15" fmla="*/ 919 h 7275"/>
              <a:gd name="T16" fmla="*/ 3975 w 4596"/>
              <a:gd name="T17" fmla="*/ 935 h 7275"/>
              <a:gd name="T18" fmla="*/ 3851 w 4596"/>
              <a:gd name="T19" fmla="*/ 1078 h 7275"/>
              <a:gd name="T20" fmla="*/ 3982 w 4596"/>
              <a:gd name="T21" fmla="*/ 1451 h 7275"/>
              <a:gd name="T22" fmla="*/ 4029 w 4596"/>
              <a:gd name="T23" fmla="*/ 2518 h 7275"/>
              <a:gd name="T24" fmla="*/ 2952 w 4596"/>
              <a:gd name="T25" fmla="*/ 2332 h 7275"/>
              <a:gd name="T26" fmla="*/ 3201 w 4596"/>
              <a:gd name="T27" fmla="*/ 1574 h 7275"/>
              <a:gd name="T28" fmla="*/ 3177 w 4596"/>
              <a:gd name="T29" fmla="*/ 1335 h 7275"/>
              <a:gd name="T30" fmla="*/ 3252 w 4596"/>
              <a:gd name="T31" fmla="*/ 1259 h 7275"/>
              <a:gd name="T32" fmla="*/ 3298 w 4596"/>
              <a:gd name="T33" fmla="*/ 1157 h 7275"/>
              <a:gd name="T34" fmla="*/ 3321 w 4596"/>
              <a:gd name="T35" fmla="*/ 1087 h 7275"/>
              <a:gd name="T36" fmla="*/ 3335 w 4596"/>
              <a:gd name="T37" fmla="*/ 1010 h 7275"/>
              <a:gd name="T38" fmla="*/ 3337 w 4596"/>
              <a:gd name="T39" fmla="*/ 970 h 7275"/>
              <a:gd name="T40" fmla="*/ 3236 w 4596"/>
              <a:gd name="T41" fmla="*/ 708 h 7275"/>
              <a:gd name="T42" fmla="*/ 3176 w 4596"/>
              <a:gd name="T43" fmla="*/ 667 h 7275"/>
              <a:gd name="T44" fmla="*/ 3127 w 4596"/>
              <a:gd name="T45" fmla="*/ 647 h 7275"/>
              <a:gd name="T46" fmla="*/ 3082 w 4596"/>
              <a:gd name="T47" fmla="*/ 637 h 7275"/>
              <a:gd name="T48" fmla="*/ 3060 w 4596"/>
              <a:gd name="T49" fmla="*/ 635 h 7275"/>
              <a:gd name="T50" fmla="*/ 2084 w 4596"/>
              <a:gd name="T51" fmla="*/ 61 h 7275"/>
              <a:gd name="T52" fmla="*/ 1738 w 4596"/>
              <a:gd name="T53" fmla="*/ 573 h 7275"/>
              <a:gd name="T54" fmla="*/ 1480 w 4596"/>
              <a:gd name="T55" fmla="*/ 1035 h 7275"/>
              <a:gd name="T56" fmla="*/ 1410 w 4596"/>
              <a:gd name="T57" fmla="*/ 1277 h 7275"/>
              <a:gd name="T58" fmla="*/ 1426 w 4596"/>
              <a:gd name="T59" fmla="*/ 1352 h 7275"/>
              <a:gd name="T60" fmla="*/ 1453 w 4596"/>
              <a:gd name="T61" fmla="*/ 1407 h 7275"/>
              <a:gd name="T62" fmla="*/ 1502 w 4596"/>
              <a:gd name="T63" fmla="*/ 1441 h 7275"/>
              <a:gd name="T64" fmla="*/ 1623 w 4596"/>
              <a:gd name="T65" fmla="*/ 1830 h 7275"/>
              <a:gd name="T66" fmla="*/ 1692 w 4596"/>
              <a:gd name="T67" fmla="*/ 1901 h 7275"/>
              <a:gd name="T68" fmla="*/ 1769 w 4596"/>
              <a:gd name="T69" fmla="*/ 1956 h 7275"/>
              <a:gd name="T70" fmla="*/ 1854 w 4596"/>
              <a:gd name="T71" fmla="*/ 1999 h 7275"/>
              <a:gd name="T72" fmla="*/ 1948 w 4596"/>
              <a:gd name="T73" fmla="*/ 2034 h 7275"/>
              <a:gd name="T74" fmla="*/ 1974 w 4596"/>
              <a:gd name="T75" fmla="*/ 2153 h 7275"/>
              <a:gd name="T76" fmla="*/ 763 w 4596"/>
              <a:gd name="T77" fmla="*/ 1038 h 7275"/>
              <a:gd name="T78" fmla="*/ 975 w 4596"/>
              <a:gd name="T79" fmla="*/ 707 h 7275"/>
              <a:gd name="T80" fmla="*/ 787 w 4596"/>
              <a:gd name="T81" fmla="*/ 487 h 7275"/>
              <a:gd name="T82" fmla="*/ 721 w 4596"/>
              <a:gd name="T83" fmla="*/ 485 h 7275"/>
              <a:gd name="T84" fmla="*/ 502 w 4596"/>
              <a:gd name="T85" fmla="*/ 847 h 7275"/>
              <a:gd name="T86" fmla="*/ 50 w 4596"/>
              <a:gd name="T87" fmla="*/ 2369 h 7275"/>
              <a:gd name="T88" fmla="*/ 1330 w 4596"/>
              <a:gd name="T89" fmla="*/ 4214 h 7275"/>
              <a:gd name="T90" fmla="*/ 1310 w 4596"/>
              <a:gd name="T91" fmla="*/ 6393 h 7275"/>
              <a:gd name="T92" fmla="*/ 1462 w 4596"/>
              <a:gd name="T93" fmla="*/ 6510 h 7275"/>
              <a:gd name="T94" fmla="*/ 1561 w 4596"/>
              <a:gd name="T95" fmla="*/ 6569 h 7275"/>
              <a:gd name="T96" fmla="*/ 1678 w 4596"/>
              <a:gd name="T97" fmla="*/ 6624 h 7275"/>
              <a:gd name="T98" fmla="*/ 1793 w 4596"/>
              <a:gd name="T99" fmla="*/ 6662 h 7275"/>
              <a:gd name="T100" fmla="*/ 2367 w 4596"/>
              <a:gd name="T101" fmla="*/ 7192 h 7275"/>
              <a:gd name="T102" fmla="*/ 2506 w 4596"/>
              <a:gd name="T103" fmla="*/ 7256 h 7275"/>
              <a:gd name="T104" fmla="*/ 3762 w 4596"/>
              <a:gd name="T105" fmla="*/ 6609 h 7275"/>
              <a:gd name="T106" fmla="*/ 3903 w 4596"/>
              <a:gd name="T107" fmla="*/ 6566 h 7275"/>
              <a:gd name="T108" fmla="*/ 3428 w 4596"/>
              <a:gd name="T109" fmla="*/ 5889 h 7275"/>
              <a:gd name="T110" fmla="*/ 2714 w 4596"/>
              <a:gd name="T111" fmla="*/ 4313 h 7275"/>
              <a:gd name="T112" fmla="*/ 2705 w 4596"/>
              <a:gd name="T113" fmla="*/ 4071 h 7275"/>
              <a:gd name="T114" fmla="*/ 2703 w 4596"/>
              <a:gd name="T115" fmla="*/ 3859 h 7275"/>
              <a:gd name="T116" fmla="*/ 2707 w 4596"/>
              <a:gd name="T117" fmla="*/ 3711 h 7275"/>
              <a:gd name="T118" fmla="*/ 2856 w 4596"/>
              <a:gd name="T119" fmla="*/ 3142 h 7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596" h="7275">
                <a:moveTo>
                  <a:pt x="1527" y="6013"/>
                </a:moveTo>
                <a:lnTo>
                  <a:pt x="1527" y="6013"/>
                </a:lnTo>
                <a:cubicBezTo>
                  <a:pt x="1430" y="5889"/>
                  <a:pt x="1394" y="5761"/>
                  <a:pt x="1395" y="5637"/>
                </a:cubicBezTo>
                <a:lnTo>
                  <a:pt x="1395" y="5637"/>
                </a:lnTo>
                <a:cubicBezTo>
                  <a:pt x="1396" y="5492"/>
                  <a:pt x="1451" y="5353"/>
                  <a:pt x="1519" y="5237"/>
                </a:cubicBezTo>
                <a:lnTo>
                  <a:pt x="1519" y="5237"/>
                </a:lnTo>
                <a:cubicBezTo>
                  <a:pt x="1526" y="5225"/>
                  <a:pt x="1534" y="5213"/>
                  <a:pt x="1541" y="5201"/>
                </a:cubicBezTo>
                <a:lnTo>
                  <a:pt x="1541" y="5201"/>
                </a:lnTo>
                <a:cubicBezTo>
                  <a:pt x="1563" y="5166"/>
                  <a:pt x="1587" y="5134"/>
                  <a:pt x="1610" y="5104"/>
                </a:cubicBezTo>
                <a:lnTo>
                  <a:pt x="1610" y="5104"/>
                </a:lnTo>
                <a:cubicBezTo>
                  <a:pt x="1621" y="5089"/>
                  <a:pt x="1632" y="5074"/>
                  <a:pt x="1644" y="5061"/>
                </a:cubicBezTo>
                <a:lnTo>
                  <a:pt x="1644" y="5061"/>
                </a:lnTo>
                <a:cubicBezTo>
                  <a:pt x="1651" y="5052"/>
                  <a:pt x="1658" y="5044"/>
                  <a:pt x="1666" y="5035"/>
                </a:cubicBezTo>
                <a:lnTo>
                  <a:pt x="1666" y="5035"/>
                </a:lnTo>
                <a:cubicBezTo>
                  <a:pt x="1723" y="4970"/>
                  <a:pt x="1772" y="4927"/>
                  <a:pt x="1789" y="4917"/>
                </a:cubicBezTo>
                <a:lnTo>
                  <a:pt x="1789" y="4917"/>
                </a:lnTo>
                <a:cubicBezTo>
                  <a:pt x="1803" y="4909"/>
                  <a:pt x="1823" y="4903"/>
                  <a:pt x="1846" y="4900"/>
                </a:cubicBezTo>
                <a:lnTo>
                  <a:pt x="1846" y="4900"/>
                </a:lnTo>
                <a:cubicBezTo>
                  <a:pt x="1857" y="4899"/>
                  <a:pt x="1870" y="4899"/>
                  <a:pt x="1883" y="4899"/>
                </a:cubicBezTo>
                <a:lnTo>
                  <a:pt x="1883" y="4899"/>
                </a:lnTo>
                <a:cubicBezTo>
                  <a:pt x="1890" y="4899"/>
                  <a:pt x="1898" y="4899"/>
                  <a:pt x="1907" y="4899"/>
                </a:cubicBezTo>
                <a:lnTo>
                  <a:pt x="1907" y="4899"/>
                </a:lnTo>
                <a:cubicBezTo>
                  <a:pt x="1907" y="4901"/>
                  <a:pt x="1907" y="4902"/>
                  <a:pt x="1908" y="4904"/>
                </a:cubicBezTo>
                <a:lnTo>
                  <a:pt x="1908" y="4904"/>
                </a:lnTo>
                <a:cubicBezTo>
                  <a:pt x="1910" y="4904"/>
                  <a:pt x="1911" y="4904"/>
                  <a:pt x="1913" y="4904"/>
                </a:cubicBezTo>
                <a:lnTo>
                  <a:pt x="1913" y="4904"/>
                </a:lnTo>
                <a:cubicBezTo>
                  <a:pt x="1913" y="4903"/>
                  <a:pt x="1913" y="4901"/>
                  <a:pt x="1913" y="4900"/>
                </a:cubicBezTo>
                <a:lnTo>
                  <a:pt x="1913" y="4900"/>
                </a:lnTo>
                <a:cubicBezTo>
                  <a:pt x="1916" y="4900"/>
                  <a:pt x="1918" y="4900"/>
                  <a:pt x="1922" y="4900"/>
                </a:cubicBezTo>
                <a:lnTo>
                  <a:pt x="1922" y="4900"/>
                </a:lnTo>
                <a:cubicBezTo>
                  <a:pt x="1934" y="4904"/>
                  <a:pt x="1949" y="4909"/>
                  <a:pt x="1966" y="4914"/>
                </a:cubicBezTo>
                <a:lnTo>
                  <a:pt x="1966" y="4914"/>
                </a:lnTo>
                <a:cubicBezTo>
                  <a:pt x="1966" y="4915"/>
                  <a:pt x="1967" y="4915"/>
                  <a:pt x="1967" y="4915"/>
                </a:cubicBezTo>
                <a:lnTo>
                  <a:pt x="1967" y="4915"/>
                </a:lnTo>
                <a:cubicBezTo>
                  <a:pt x="1967" y="4915"/>
                  <a:pt x="1967" y="4915"/>
                  <a:pt x="1967" y="4914"/>
                </a:cubicBezTo>
                <a:lnTo>
                  <a:pt x="1967" y="4914"/>
                </a:lnTo>
                <a:cubicBezTo>
                  <a:pt x="2008" y="4929"/>
                  <a:pt x="2056" y="4949"/>
                  <a:pt x="2084" y="4971"/>
                </a:cubicBezTo>
                <a:lnTo>
                  <a:pt x="2084" y="4971"/>
                </a:lnTo>
                <a:cubicBezTo>
                  <a:pt x="2092" y="4978"/>
                  <a:pt x="2099" y="4986"/>
                  <a:pt x="2103" y="4994"/>
                </a:cubicBezTo>
                <a:lnTo>
                  <a:pt x="2103" y="4994"/>
                </a:lnTo>
                <a:cubicBezTo>
                  <a:pt x="2104" y="4994"/>
                  <a:pt x="2104" y="4995"/>
                  <a:pt x="2104" y="4997"/>
                </a:cubicBezTo>
                <a:lnTo>
                  <a:pt x="2104" y="4997"/>
                </a:lnTo>
                <a:cubicBezTo>
                  <a:pt x="2104" y="4998"/>
                  <a:pt x="2104" y="4998"/>
                  <a:pt x="2104" y="4999"/>
                </a:cubicBezTo>
                <a:lnTo>
                  <a:pt x="2104" y="4999"/>
                </a:lnTo>
                <a:cubicBezTo>
                  <a:pt x="2104" y="5000"/>
                  <a:pt x="2104" y="5001"/>
                  <a:pt x="2104" y="5003"/>
                </a:cubicBezTo>
                <a:lnTo>
                  <a:pt x="2104" y="5003"/>
                </a:lnTo>
                <a:cubicBezTo>
                  <a:pt x="2104" y="5004"/>
                  <a:pt x="2104" y="5004"/>
                  <a:pt x="2104" y="5005"/>
                </a:cubicBezTo>
                <a:lnTo>
                  <a:pt x="2104" y="5005"/>
                </a:lnTo>
                <a:cubicBezTo>
                  <a:pt x="2104" y="5006"/>
                  <a:pt x="2104" y="5008"/>
                  <a:pt x="2104" y="5011"/>
                </a:cubicBezTo>
                <a:lnTo>
                  <a:pt x="2104" y="5011"/>
                </a:lnTo>
                <a:lnTo>
                  <a:pt x="2104" y="5012"/>
                </a:lnTo>
                <a:lnTo>
                  <a:pt x="2104" y="5012"/>
                </a:lnTo>
                <a:cubicBezTo>
                  <a:pt x="2103" y="5015"/>
                  <a:pt x="2102" y="5018"/>
                  <a:pt x="2102" y="5021"/>
                </a:cubicBezTo>
                <a:lnTo>
                  <a:pt x="2102" y="5021"/>
                </a:lnTo>
                <a:cubicBezTo>
                  <a:pt x="2102" y="5022"/>
                  <a:pt x="2102" y="5024"/>
                  <a:pt x="2102" y="5025"/>
                </a:cubicBezTo>
                <a:lnTo>
                  <a:pt x="2102" y="5025"/>
                </a:lnTo>
                <a:cubicBezTo>
                  <a:pt x="2101" y="5026"/>
                  <a:pt x="2100" y="5029"/>
                  <a:pt x="2100" y="5031"/>
                </a:cubicBezTo>
                <a:lnTo>
                  <a:pt x="2100" y="5031"/>
                </a:lnTo>
                <a:cubicBezTo>
                  <a:pt x="2100" y="5032"/>
                  <a:pt x="2100" y="5035"/>
                  <a:pt x="2099" y="5036"/>
                </a:cubicBezTo>
                <a:lnTo>
                  <a:pt x="2099" y="5036"/>
                </a:lnTo>
                <a:cubicBezTo>
                  <a:pt x="2099" y="5038"/>
                  <a:pt x="2099" y="5040"/>
                  <a:pt x="2099" y="5041"/>
                </a:cubicBezTo>
                <a:lnTo>
                  <a:pt x="2099" y="5041"/>
                </a:lnTo>
                <a:cubicBezTo>
                  <a:pt x="2069" y="5190"/>
                  <a:pt x="1936" y="5654"/>
                  <a:pt x="2042" y="6045"/>
                </a:cubicBezTo>
                <a:lnTo>
                  <a:pt x="2042" y="6045"/>
                </a:lnTo>
                <a:cubicBezTo>
                  <a:pt x="2043" y="6046"/>
                  <a:pt x="2043" y="6047"/>
                  <a:pt x="2044" y="6048"/>
                </a:cubicBezTo>
                <a:lnTo>
                  <a:pt x="2044" y="6048"/>
                </a:lnTo>
                <a:cubicBezTo>
                  <a:pt x="2045" y="6054"/>
                  <a:pt x="2047" y="6060"/>
                  <a:pt x="2048" y="6066"/>
                </a:cubicBezTo>
                <a:lnTo>
                  <a:pt x="2048" y="6066"/>
                </a:lnTo>
                <a:cubicBezTo>
                  <a:pt x="2049" y="6068"/>
                  <a:pt x="2050" y="6070"/>
                  <a:pt x="2051" y="6073"/>
                </a:cubicBezTo>
                <a:lnTo>
                  <a:pt x="2051" y="6073"/>
                </a:lnTo>
                <a:cubicBezTo>
                  <a:pt x="2052" y="6078"/>
                  <a:pt x="2054" y="6084"/>
                  <a:pt x="2056" y="6089"/>
                </a:cubicBezTo>
                <a:lnTo>
                  <a:pt x="2056" y="6089"/>
                </a:lnTo>
                <a:cubicBezTo>
                  <a:pt x="2057" y="6092"/>
                  <a:pt x="2058" y="6095"/>
                  <a:pt x="2059" y="6098"/>
                </a:cubicBezTo>
                <a:lnTo>
                  <a:pt x="2059" y="6098"/>
                </a:lnTo>
                <a:cubicBezTo>
                  <a:pt x="2061" y="6103"/>
                  <a:pt x="2062" y="6108"/>
                  <a:pt x="2064" y="6113"/>
                </a:cubicBezTo>
                <a:lnTo>
                  <a:pt x="2064" y="6113"/>
                </a:lnTo>
                <a:cubicBezTo>
                  <a:pt x="2065" y="6116"/>
                  <a:pt x="2067" y="6119"/>
                  <a:pt x="2068" y="6123"/>
                </a:cubicBezTo>
                <a:lnTo>
                  <a:pt x="2068" y="6123"/>
                </a:lnTo>
                <a:cubicBezTo>
                  <a:pt x="2069" y="6127"/>
                  <a:pt x="2071" y="6133"/>
                  <a:pt x="2073" y="6137"/>
                </a:cubicBezTo>
                <a:lnTo>
                  <a:pt x="2073" y="6137"/>
                </a:lnTo>
                <a:cubicBezTo>
                  <a:pt x="2075" y="6141"/>
                  <a:pt x="2076" y="6144"/>
                  <a:pt x="2077" y="6147"/>
                </a:cubicBezTo>
                <a:lnTo>
                  <a:pt x="2077" y="6147"/>
                </a:lnTo>
                <a:cubicBezTo>
                  <a:pt x="2079" y="6152"/>
                  <a:pt x="2081" y="6157"/>
                  <a:pt x="2083" y="6161"/>
                </a:cubicBezTo>
                <a:lnTo>
                  <a:pt x="2083" y="6161"/>
                </a:lnTo>
                <a:cubicBezTo>
                  <a:pt x="2084" y="6165"/>
                  <a:pt x="2086" y="6168"/>
                  <a:pt x="2087" y="6171"/>
                </a:cubicBezTo>
                <a:lnTo>
                  <a:pt x="2087" y="6171"/>
                </a:lnTo>
                <a:cubicBezTo>
                  <a:pt x="2089" y="6176"/>
                  <a:pt x="2091" y="6181"/>
                  <a:pt x="2094" y="6185"/>
                </a:cubicBezTo>
                <a:lnTo>
                  <a:pt x="2094" y="6185"/>
                </a:lnTo>
                <a:cubicBezTo>
                  <a:pt x="2095" y="6188"/>
                  <a:pt x="2097" y="6192"/>
                  <a:pt x="2098" y="6195"/>
                </a:cubicBezTo>
                <a:lnTo>
                  <a:pt x="2098" y="6195"/>
                </a:lnTo>
                <a:cubicBezTo>
                  <a:pt x="2102" y="6203"/>
                  <a:pt x="2106" y="6211"/>
                  <a:pt x="2110" y="6218"/>
                </a:cubicBezTo>
                <a:lnTo>
                  <a:pt x="2110" y="6218"/>
                </a:lnTo>
                <a:cubicBezTo>
                  <a:pt x="2112" y="6222"/>
                  <a:pt x="2115" y="6227"/>
                  <a:pt x="2116" y="6231"/>
                </a:cubicBezTo>
                <a:lnTo>
                  <a:pt x="2116" y="6231"/>
                </a:lnTo>
                <a:cubicBezTo>
                  <a:pt x="2119" y="6234"/>
                  <a:pt x="2121" y="6238"/>
                  <a:pt x="2123" y="6241"/>
                </a:cubicBezTo>
                <a:lnTo>
                  <a:pt x="2123" y="6241"/>
                </a:lnTo>
                <a:cubicBezTo>
                  <a:pt x="2125" y="6245"/>
                  <a:pt x="2128" y="6249"/>
                  <a:pt x="2130" y="6253"/>
                </a:cubicBezTo>
                <a:lnTo>
                  <a:pt x="2130" y="6253"/>
                </a:lnTo>
                <a:cubicBezTo>
                  <a:pt x="2132" y="6257"/>
                  <a:pt x="2134" y="6260"/>
                  <a:pt x="2136" y="6264"/>
                </a:cubicBezTo>
                <a:lnTo>
                  <a:pt x="2136" y="6264"/>
                </a:lnTo>
                <a:cubicBezTo>
                  <a:pt x="2139" y="6268"/>
                  <a:pt x="2142" y="6272"/>
                  <a:pt x="2144" y="6277"/>
                </a:cubicBezTo>
                <a:lnTo>
                  <a:pt x="2144" y="6277"/>
                </a:lnTo>
                <a:cubicBezTo>
                  <a:pt x="2146" y="6280"/>
                  <a:pt x="2149" y="6283"/>
                  <a:pt x="2151" y="6287"/>
                </a:cubicBezTo>
                <a:lnTo>
                  <a:pt x="2151" y="6287"/>
                </a:lnTo>
                <a:cubicBezTo>
                  <a:pt x="2153" y="6290"/>
                  <a:pt x="2156" y="6295"/>
                  <a:pt x="2159" y="6299"/>
                </a:cubicBezTo>
                <a:lnTo>
                  <a:pt x="2159" y="6299"/>
                </a:lnTo>
                <a:cubicBezTo>
                  <a:pt x="2162" y="6302"/>
                  <a:pt x="2164" y="6305"/>
                  <a:pt x="2166" y="6308"/>
                </a:cubicBezTo>
                <a:lnTo>
                  <a:pt x="2166" y="6308"/>
                </a:lnTo>
                <a:cubicBezTo>
                  <a:pt x="2169" y="6312"/>
                  <a:pt x="2172" y="6317"/>
                  <a:pt x="2176" y="6321"/>
                </a:cubicBezTo>
                <a:lnTo>
                  <a:pt x="2176" y="6321"/>
                </a:lnTo>
                <a:cubicBezTo>
                  <a:pt x="2178" y="6324"/>
                  <a:pt x="2180" y="6327"/>
                  <a:pt x="2182" y="6330"/>
                </a:cubicBezTo>
                <a:lnTo>
                  <a:pt x="2182" y="6330"/>
                </a:lnTo>
                <a:cubicBezTo>
                  <a:pt x="2186" y="6334"/>
                  <a:pt x="2190" y="6339"/>
                  <a:pt x="2193" y="6343"/>
                </a:cubicBezTo>
                <a:lnTo>
                  <a:pt x="2193" y="6343"/>
                </a:lnTo>
                <a:cubicBezTo>
                  <a:pt x="2196" y="6346"/>
                  <a:pt x="2198" y="6348"/>
                  <a:pt x="2200" y="6350"/>
                </a:cubicBezTo>
                <a:lnTo>
                  <a:pt x="2200" y="6350"/>
                </a:lnTo>
                <a:cubicBezTo>
                  <a:pt x="2205" y="6357"/>
                  <a:pt x="2211" y="6363"/>
                  <a:pt x="2217" y="6370"/>
                </a:cubicBezTo>
                <a:lnTo>
                  <a:pt x="2217" y="6370"/>
                </a:lnTo>
                <a:cubicBezTo>
                  <a:pt x="2217" y="6370"/>
                  <a:pt x="2217" y="6370"/>
                  <a:pt x="2217" y="6371"/>
                </a:cubicBezTo>
                <a:lnTo>
                  <a:pt x="2217" y="6371"/>
                </a:lnTo>
                <a:cubicBezTo>
                  <a:pt x="2018" y="6363"/>
                  <a:pt x="1744" y="6292"/>
                  <a:pt x="1527" y="6013"/>
                </a:cubicBezTo>
                <a:close/>
                <a:moveTo>
                  <a:pt x="4343" y="1417"/>
                </a:moveTo>
                <a:lnTo>
                  <a:pt x="4343" y="1417"/>
                </a:lnTo>
                <a:cubicBezTo>
                  <a:pt x="4343" y="1417"/>
                  <a:pt x="4329" y="1415"/>
                  <a:pt x="4305" y="1412"/>
                </a:cubicBezTo>
                <a:lnTo>
                  <a:pt x="4305" y="1412"/>
                </a:lnTo>
                <a:cubicBezTo>
                  <a:pt x="4298" y="1376"/>
                  <a:pt x="4288" y="1329"/>
                  <a:pt x="4280" y="1320"/>
                </a:cubicBezTo>
                <a:lnTo>
                  <a:pt x="4280" y="1320"/>
                </a:lnTo>
                <a:cubicBezTo>
                  <a:pt x="4280" y="1320"/>
                  <a:pt x="4279" y="1321"/>
                  <a:pt x="4277" y="1321"/>
                </a:cubicBezTo>
                <a:lnTo>
                  <a:pt x="4277" y="1321"/>
                </a:lnTo>
                <a:cubicBezTo>
                  <a:pt x="4301" y="1279"/>
                  <a:pt x="4309" y="1225"/>
                  <a:pt x="4312" y="1176"/>
                </a:cubicBezTo>
                <a:lnTo>
                  <a:pt x="4312" y="1176"/>
                </a:lnTo>
                <a:cubicBezTo>
                  <a:pt x="4313" y="1161"/>
                  <a:pt x="4314" y="1147"/>
                  <a:pt x="4314" y="1134"/>
                </a:cubicBezTo>
                <a:lnTo>
                  <a:pt x="4314" y="1134"/>
                </a:lnTo>
                <a:cubicBezTo>
                  <a:pt x="4314" y="1072"/>
                  <a:pt x="4304" y="972"/>
                  <a:pt x="4231" y="948"/>
                </a:cubicBezTo>
                <a:lnTo>
                  <a:pt x="4231" y="948"/>
                </a:lnTo>
                <a:lnTo>
                  <a:pt x="4230" y="947"/>
                </a:lnTo>
                <a:lnTo>
                  <a:pt x="4230" y="947"/>
                </a:lnTo>
                <a:cubicBezTo>
                  <a:pt x="4226" y="947"/>
                  <a:pt x="4220" y="948"/>
                  <a:pt x="4216" y="947"/>
                </a:cubicBezTo>
                <a:lnTo>
                  <a:pt x="4216" y="947"/>
                </a:lnTo>
                <a:cubicBezTo>
                  <a:pt x="4214" y="946"/>
                  <a:pt x="4213" y="946"/>
                  <a:pt x="4213" y="945"/>
                </a:cubicBezTo>
                <a:lnTo>
                  <a:pt x="4213" y="945"/>
                </a:lnTo>
                <a:cubicBezTo>
                  <a:pt x="4197" y="927"/>
                  <a:pt x="4173" y="916"/>
                  <a:pt x="4150" y="918"/>
                </a:cubicBezTo>
                <a:lnTo>
                  <a:pt x="4150" y="918"/>
                </a:lnTo>
                <a:cubicBezTo>
                  <a:pt x="4141" y="919"/>
                  <a:pt x="4134" y="921"/>
                  <a:pt x="4126" y="919"/>
                </a:cubicBezTo>
                <a:lnTo>
                  <a:pt x="4126" y="919"/>
                </a:lnTo>
                <a:cubicBezTo>
                  <a:pt x="4120" y="918"/>
                  <a:pt x="4115" y="915"/>
                  <a:pt x="4110" y="913"/>
                </a:cubicBezTo>
                <a:lnTo>
                  <a:pt x="4110" y="913"/>
                </a:lnTo>
                <a:cubicBezTo>
                  <a:pt x="4109" y="912"/>
                  <a:pt x="4109" y="912"/>
                  <a:pt x="4109" y="912"/>
                </a:cubicBezTo>
                <a:lnTo>
                  <a:pt x="4109" y="912"/>
                </a:lnTo>
                <a:lnTo>
                  <a:pt x="4109" y="912"/>
                </a:lnTo>
                <a:lnTo>
                  <a:pt x="4109" y="912"/>
                </a:lnTo>
                <a:cubicBezTo>
                  <a:pt x="4109" y="912"/>
                  <a:pt x="4109" y="912"/>
                  <a:pt x="4108" y="912"/>
                </a:cubicBezTo>
                <a:lnTo>
                  <a:pt x="4108" y="912"/>
                </a:lnTo>
                <a:cubicBezTo>
                  <a:pt x="4105" y="911"/>
                  <a:pt x="4102" y="909"/>
                  <a:pt x="4098" y="908"/>
                </a:cubicBezTo>
                <a:lnTo>
                  <a:pt x="4098" y="908"/>
                </a:lnTo>
                <a:cubicBezTo>
                  <a:pt x="4097" y="908"/>
                  <a:pt x="4096" y="908"/>
                  <a:pt x="4095" y="907"/>
                </a:cubicBezTo>
                <a:lnTo>
                  <a:pt x="4095" y="907"/>
                </a:lnTo>
                <a:cubicBezTo>
                  <a:pt x="4092" y="906"/>
                  <a:pt x="4089" y="905"/>
                  <a:pt x="4086" y="905"/>
                </a:cubicBezTo>
                <a:lnTo>
                  <a:pt x="4086" y="905"/>
                </a:lnTo>
                <a:cubicBezTo>
                  <a:pt x="4085" y="905"/>
                  <a:pt x="4084" y="904"/>
                  <a:pt x="4084" y="904"/>
                </a:cubicBezTo>
                <a:lnTo>
                  <a:pt x="4084" y="904"/>
                </a:lnTo>
                <a:cubicBezTo>
                  <a:pt x="4046" y="896"/>
                  <a:pt x="4003" y="908"/>
                  <a:pt x="3975" y="935"/>
                </a:cubicBezTo>
                <a:lnTo>
                  <a:pt x="3975" y="935"/>
                </a:lnTo>
                <a:cubicBezTo>
                  <a:pt x="3966" y="928"/>
                  <a:pt x="3957" y="924"/>
                  <a:pt x="3949" y="922"/>
                </a:cubicBezTo>
                <a:lnTo>
                  <a:pt x="3949" y="922"/>
                </a:lnTo>
                <a:cubicBezTo>
                  <a:pt x="3939" y="918"/>
                  <a:pt x="3932" y="918"/>
                  <a:pt x="3932" y="918"/>
                </a:cubicBezTo>
                <a:lnTo>
                  <a:pt x="3932" y="918"/>
                </a:lnTo>
                <a:cubicBezTo>
                  <a:pt x="3932" y="918"/>
                  <a:pt x="3939" y="919"/>
                  <a:pt x="3948" y="925"/>
                </a:cubicBezTo>
                <a:lnTo>
                  <a:pt x="3948" y="925"/>
                </a:lnTo>
                <a:cubicBezTo>
                  <a:pt x="3948" y="925"/>
                  <a:pt x="3948" y="925"/>
                  <a:pt x="3949" y="925"/>
                </a:cubicBezTo>
                <a:lnTo>
                  <a:pt x="3949" y="925"/>
                </a:lnTo>
                <a:cubicBezTo>
                  <a:pt x="3895" y="911"/>
                  <a:pt x="3859" y="1009"/>
                  <a:pt x="3852" y="1067"/>
                </a:cubicBezTo>
                <a:lnTo>
                  <a:pt x="3852" y="1067"/>
                </a:lnTo>
                <a:cubicBezTo>
                  <a:pt x="3852" y="1067"/>
                  <a:pt x="3851" y="1068"/>
                  <a:pt x="3851" y="1069"/>
                </a:cubicBezTo>
                <a:lnTo>
                  <a:pt x="3851" y="1069"/>
                </a:lnTo>
                <a:cubicBezTo>
                  <a:pt x="3851" y="1070"/>
                  <a:pt x="3851" y="1071"/>
                  <a:pt x="3851" y="1072"/>
                </a:cubicBezTo>
                <a:lnTo>
                  <a:pt x="3851" y="1072"/>
                </a:lnTo>
                <a:cubicBezTo>
                  <a:pt x="3851" y="1073"/>
                  <a:pt x="3851" y="1074"/>
                  <a:pt x="3851" y="1075"/>
                </a:cubicBezTo>
                <a:lnTo>
                  <a:pt x="3851" y="1075"/>
                </a:lnTo>
                <a:cubicBezTo>
                  <a:pt x="3851" y="1076"/>
                  <a:pt x="3851" y="1077"/>
                  <a:pt x="3851" y="1078"/>
                </a:cubicBezTo>
                <a:lnTo>
                  <a:pt x="3851" y="1078"/>
                </a:lnTo>
                <a:cubicBezTo>
                  <a:pt x="3851" y="1079"/>
                  <a:pt x="3851" y="1080"/>
                  <a:pt x="3851" y="1080"/>
                </a:cubicBezTo>
                <a:lnTo>
                  <a:pt x="3851" y="1080"/>
                </a:lnTo>
                <a:cubicBezTo>
                  <a:pt x="3834" y="1072"/>
                  <a:pt x="3820" y="1069"/>
                  <a:pt x="3818" y="1067"/>
                </a:cubicBezTo>
                <a:lnTo>
                  <a:pt x="3818" y="1067"/>
                </a:lnTo>
                <a:cubicBezTo>
                  <a:pt x="3819" y="1069"/>
                  <a:pt x="3822" y="1072"/>
                  <a:pt x="3827" y="1076"/>
                </a:cubicBezTo>
                <a:lnTo>
                  <a:pt x="3827" y="1076"/>
                </a:lnTo>
                <a:cubicBezTo>
                  <a:pt x="3804" y="1065"/>
                  <a:pt x="3776" y="1063"/>
                  <a:pt x="3764" y="1086"/>
                </a:cubicBezTo>
                <a:lnTo>
                  <a:pt x="3764" y="1086"/>
                </a:lnTo>
                <a:cubicBezTo>
                  <a:pt x="3753" y="1106"/>
                  <a:pt x="3769" y="1128"/>
                  <a:pt x="3776" y="1150"/>
                </a:cubicBezTo>
                <a:lnTo>
                  <a:pt x="3776" y="1150"/>
                </a:lnTo>
                <a:cubicBezTo>
                  <a:pt x="3788" y="1186"/>
                  <a:pt x="3790" y="1228"/>
                  <a:pt x="3799" y="1265"/>
                </a:cubicBezTo>
                <a:lnTo>
                  <a:pt x="3799" y="1265"/>
                </a:lnTo>
                <a:cubicBezTo>
                  <a:pt x="3828" y="1385"/>
                  <a:pt x="4013" y="1416"/>
                  <a:pt x="4013" y="1416"/>
                </a:cubicBezTo>
                <a:lnTo>
                  <a:pt x="4013" y="1422"/>
                </a:lnTo>
                <a:lnTo>
                  <a:pt x="4013" y="1422"/>
                </a:lnTo>
                <a:cubicBezTo>
                  <a:pt x="4003" y="1430"/>
                  <a:pt x="3992" y="1437"/>
                  <a:pt x="3981" y="1446"/>
                </a:cubicBezTo>
                <a:lnTo>
                  <a:pt x="3982" y="1451"/>
                </a:lnTo>
                <a:lnTo>
                  <a:pt x="3987" y="1467"/>
                </a:lnTo>
                <a:lnTo>
                  <a:pt x="3987" y="1467"/>
                </a:lnTo>
                <a:cubicBezTo>
                  <a:pt x="3945" y="1492"/>
                  <a:pt x="3908" y="1527"/>
                  <a:pt x="3882" y="1576"/>
                </a:cubicBezTo>
                <a:lnTo>
                  <a:pt x="4004" y="2347"/>
                </a:lnTo>
                <a:lnTo>
                  <a:pt x="4004" y="2347"/>
                </a:lnTo>
                <a:cubicBezTo>
                  <a:pt x="4002" y="2340"/>
                  <a:pt x="4001" y="2334"/>
                  <a:pt x="3999" y="2328"/>
                </a:cubicBezTo>
                <a:lnTo>
                  <a:pt x="3999" y="2328"/>
                </a:lnTo>
                <a:cubicBezTo>
                  <a:pt x="4001" y="2341"/>
                  <a:pt x="4003" y="2354"/>
                  <a:pt x="4005" y="2365"/>
                </a:cubicBezTo>
                <a:lnTo>
                  <a:pt x="4005" y="2365"/>
                </a:lnTo>
                <a:cubicBezTo>
                  <a:pt x="4006" y="2372"/>
                  <a:pt x="4007" y="2378"/>
                  <a:pt x="4008" y="2385"/>
                </a:cubicBezTo>
                <a:lnTo>
                  <a:pt x="4008" y="2385"/>
                </a:lnTo>
                <a:cubicBezTo>
                  <a:pt x="4009" y="2395"/>
                  <a:pt x="4013" y="2415"/>
                  <a:pt x="4014" y="2423"/>
                </a:cubicBezTo>
                <a:lnTo>
                  <a:pt x="4014" y="2423"/>
                </a:lnTo>
                <a:cubicBezTo>
                  <a:pt x="4017" y="2441"/>
                  <a:pt x="4019" y="2459"/>
                  <a:pt x="4022" y="2475"/>
                </a:cubicBezTo>
                <a:lnTo>
                  <a:pt x="4022" y="2475"/>
                </a:lnTo>
                <a:cubicBezTo>
                  <a:pt x="4022" y="2476"/>
                  <a:pt x="4024" y="2488"/>
                  <a:pt x="4025" y="2489"/>
                </a:cubicBezTo>
                <a:lnTo>
                  <a:pt x="4025" y="2489"/>
                </a:lnTo>
                <a:cubicBezTo>
                  <a:pt x="4026" y="2500"/>
                  <a:pt x="4028" y="2510"/>
                  <a:pt x="4029" y="2518"/>
                </a:cubicBezTo>
                <a:lnTo>
                  <a:pt x="4029" y="2518"/>
                </a:lnTo>
                <a:cubicBezTo>
                  <a:pt x="4029" y="2519"/>
                  <a:pt x="4030" y="2528"/>
                  <a:pt x="4030" y="2529"/>
                </a:cubicBezTo>
                <a:lnTo>
                  <a:pt x="4030" y="2529"/>
                </a:lnTo>
                <a:cubicBezTo>
                  <a:pt x="4032" y="2540"/>
                  <a:pt x="4033" y="2547"/>
                  <a:pt x="4033" y="2547"/>
                </a:cubicBezTo>
                <a:lnTo>
                  <a:pt x="4033" y="2547"/>
                </a:lnTo>
                <a:cubicBezTo>
                  <a:pt x="4032" y="2550"/>
                  <a:pt x="4029" y="2553"/>
                  <a:pt x="4027" y="2556"/>
                </a:cubicBezTo>
                <a:lnTo>
                  <a:pt x="4027" y="2556"/>
                </a:lnTo>
                <a:cubicBezTo>
                  <a:pt x="4022" y="2560"/>
                  <a:pt x="4016" y="2564"/>
                  <a:pt x="4009" y="2567"/>
                </a:cubicBezTo>
                <a:lnTo>
                  <a:pt x="4009" y="2567"/>
                </a:lnTo>
                <a:cubicBezTo>
                  <a:pt x="4008" y="2567"/>
                  <a:pt x="4007" y="2568"/>
                  <a:pt x="4006" y="2569"/>
                </a:cubicBezTo>
                <a:lnTo>
                  <a:pt x="4006" y="2569"/>
                </a:lnTo>
                <a:lnTo>
                  <a:pt x="4006" y="2569"/>
                </a:lnTo>
                <a:lnTo>
                  <a:pt x="4006" y="2569"/>
                </a:lnTo>
                <a:cubicBezTo>
                  <a:pt x="3955" y="2589"/>
                  <a:pt x="3867" y="2567"/>
                  <a:pt x="3829" y="2562"/>
                </a:cubicBezTo>
                <a:lnTo>
                  <a:pt x="3829" y="2562"/>
                </a:lnTo>
                <a:cubicBezTo>
                  <a:pt x="3702" y="2540"/>
                  <a:pt x="3576" y="2506"/>
                  <a:pt x="3451" y="2473"/>
                </a:cubicBezTo>
                <a:lnTo>
                  <a:pt x="3451" y="2473"/>
                </a:lnTo>
                <a:cubicBezTo>
                  <a:pt x="3286" y="2430"/>
                  <a:pt x="3144" y="2377"/>
                  <a:pt x="2952" y="2332"/>
                </a:cubicBezTo>
                <a:lnTo>
                  <a:pt x="2952" y="2332"/>
                </a:lnTo>
                <a:cubicBezTo>
                  <a:pt x="2828" y="2282"/>
                  <a:pt x="2662" y="2237"/>
                  <a:pt x="2579" y="2238"/>
                </a:cubicBezTo>
                <a:lnTo>
                  <a:pt x="2579" y="2238"/>
                </a:lnTo>
                <a:cubicBezTo>
                  <a:pt x="2534" y="2170"/>
                  <a:pt x="2482" y="2146"/>
                  <a:pt x="2482" y="2146"/>
                </a:cubicBezTo>
                <a:lnTo>
                  <a:pt x="2482" y="2146"/>
                </a:lnTo>
                <a:cubicBezTo>
                  <a:pt x="2461" y="2123"/>
                  <a:pt x="2447" y="2138"/>
                  <a:pt x="2445" y="2140"/>
                </a:cubicBezTo>
                <a:lnTo>
                  <a:pt x="2445" y="2140"/>
                </a:lnTo>
                <a:cubicBezTo>
                  <a:pt x="2443" y="2139"/>
                  <a:pt x="2442" y="2138"/>
                  <a:pt x="2440" y="2137"/>
                </a:cubicBezTo>
                <a:lnTo>
                  <a:pt x="2440" y="2137"/>
                </a:lnTo>
                <a:cubicBezTo>
                  <a:pt x="2444" y="2139"/>
                  <a:pt x="2440" y="2154"/>
                  <a:pt x="2431" y="2170"/>
                </a:cubicBezTo>
                <a:lnTo>
                  <a:pt x="2448" y="2075"/>
                </a:lnTo>
                <a:lnTo>
                  <a:pt x="2448" y="2075"/>
                </a:lnTo>
                <a:cubicBezTo>
                  <a:pt x="2697" y="2039"/>
                  <a:pt x="2885" y="1914"/>
                  <a:pt x="2962" y="1736"/>
                </a:cubicBezTo>
                <a:lnTo>
                  <a:pt x="2962" y="1736"/>
                </a:lnTo>
                <a:cubicBezTo>
                  <a:pt x="2962" y="1736"/>
                  <a:pt x="3092" y="1750"/>
                  <a:pt x="3171" y="1633"/>
                </a:cubicBezTo>
                <a:lnTo>
                  <a:pt x="3171" y="1633"/>
                </a:lnTo>
                <a:cubicBezTo>
                  <a:pt x="3182" y="1616"/>
                  <a:pt x="3193" y="1597"/>
                  <a:pt x="3201" y="1574"/>
                </a:cubicBezTo>
                <a:lnTo>
                  <a:pt x="3201" y="1574"/>
                </a:lnTo>
                <a:cubicBezTo>
                  <a:pt x="3203" y="1569"/>
                  <a:pt x="3205" y="1564"/>
                  <a:pt x="3207" y="1560"/>
                </a:cubicBezTo>
                <a:lnTo>
                  <a:pt x="3207" y="1560"/>
                </a:lnTo>
                <a:cubicBezTo>
                  <a:pt x="3207" y="1558"/>
                  <a:pt x="3207" y="1557"/>
                  <a:pt x="3208" y="1555"/>
                </a:cubicBezTo>
                <a:lnTo>
                  <a:pt x="3208" y="1555"/>
                </a:lnTo>
                <a:cubicBezTo>
                  <a:pt x="3209" y="1552"/>
                  <a:pt x="3209" y="1548"/>
                  <a:pt x="3211" y="1545"/>
                </a:cubicBezTo>
                <a:lnTo>
                  <a:pt x="3211" y="1545"/>
                </a:lnTo>
                <a:cubicBezTo>
                  <a:pt x="3211" y="1544"/>
                  <a:pt x="3211" y="1542"/>
                  <a:pt x="3212" y="1541"/>
                </a:cubicBezTo>
                <a:lnTo>
                  <a:pt x="3212" y="1541"/>
                </a:lnTo>
                <a:cubicBezTo>
                  <a:pt x="3214" y="1531"/>
                  <a:pt x="3216" y="1521"/>
                  <a:pt x="3217" y="1511"/>
                </a:cubicBezTo>
                <a:lnTo>
                  <a:pt x="3217" y="1511"/>
                </a:lnTo>
                <a:cubicBezTo>
                  <a:pt x="3217" y="1511"/>
                  <a:pt x="3217" y="1510"/>
                  <a:pt x="3217" y="1509"/>
                </a:cubicBezTo>
                <a:lnTo>
                  <a:pt x="3217" y="1509"/>
                </a:lnTo>
                <a:cubicBezTo>
                  <a:pt x="3218" y="1505"/>
                  <a:pt x="3218" y="1500"/>
                  <a:pt x="3218" y="1496"/>
                </a:cubicBezTo>
                <a:lnTo>
                  <a:pt x="3218" y="1496"/>
                </a:lnTo>
                <a:cubicBezTo>
                  <a:pt x="3219" y="1496"/>
                  <a:pt x="3219" y="1495"/>
                  <a:pt x="3219" y="1494"/>
                </a:cubicBezTo>
                <a:lnTo>
                  <a:pt x="3219" y="1494"/>
                </a:lnTo>
                <a:cubicBezTo>
                  <a:pt x="3222" y="1434"/>
                  <a:pt x="3206" y="1376"/>
                  <a:pt x="3177" y="1335"/>
                </a:cubicBezTo>
                <a:lnTo>
                  <a:pt x="3177" y="1335"/>
                </a:lnTo>
                <a:cubicBezTo>
                  <a:pt x="3188" y="1346"/>
                  <a:pt x="3195" y="1355"/>
                  <a:pt x="3195" y="1355"/>
                </a:cubicBezTo>
                <a:lnTo>
                  <a:pt x="3195" y="1355"/>
                </a:lnTo>
                <a:cubicBezTo>
                  <a:pt x="3200" y="1347"/>
                  <a:pt x="3205" y="1340"/>
                  <a:pt x="3209" y="1332"/>
                </a:cubicBezTo>
                <a:lnTo>
                  <a:pt x="3209" y="1332"/>
                </a:lnTo>
                <a:cubicBezTo>
                  <a:pt x="3211" y="1330"/>
                  <a:pt x="3212" y="1327"/>
                  <a:pt x="3213" y="1325"/>
                </a:cubicBezTo>
                <a:lnTo>
                  <a:pt x="3213" y="1325"/>
                </a:lnTo>
                <a:cubicBezTo>
                  <a:pt x="3217" y="1320"/>
                  <a:pt x="3220" y="1315"/>
                  <a:pt x="3223" y="1309"/>
                </a:cubicBezTo>
                <a:lnTo>
                  <a:pt x="3223" y="1309"/>
                </a:lnTo>
                <a:cubicBezTo>
                  <a:pt x="3225" y="1307"/>
                  <a:pt x="3226" y="1304"/>
                  <a:pt x="3228" y="1302"/>
                </a:cubicBezTo>
                <a:lnTo>
                  <a:pt x="3228" y="1302"/>
                </a:lnTo>
                <a:cubicBezTo>
                  <a:pt x="3231" y="1296"/>
                  <a:pt x="3233" y="1292"/>
                  <a:pt x="3236" y="1287"/>
                </a:cubicBezTo>
                <a:lnTo>
                  <a:pt x="3236" y="1287"/>
                </a:lnTo>
                <a:cubicBezTo>
                  <a:pt x="3238" y="1285"/>
                  <a:pt x="3239" y="1282"/>
                  <a:pt x="3240" y="1280"/>
                </a:cubicBezTo>
                <a:lnTo>
                  <a:pt x="3240" y="1280"/>
                </a:lnTo>
                <a:cubicBezTo>
                  <a:pt x="3243" y="1274"/>
                  <a:pt x="3247" y="1268"/>
                  <a:pt x="3250" y="1262"/>
                </a:cubicBezTo>
                <a:lnTo>
                  <a:pt x="3250" y="1262"/>
                </a:lnTo>
                <a:cubicBezTo>
                  <a:pt x="3251" y="1261"/>
                  <a:pt x="3251" y="1260"/>
                  <a:pt x="3252" y="1259"/>
                </a:cubicBezTo>
                <a:lnTo>
                  <a:pt x="3252" y="1259"/>
                </a:lnTo>
                <a:cubicBezTo>
                  <a:pt x="3255" y="1252"/>
                  <a:pt x="3259" y="1245"/>
                  <a:pt x="3262" y="1238"/>
                </a:cubicBezTo>
                <a:lnTo>
                  <a:pt x="3262" y="1238"/>
                </a:lnTo>
                <a:cubicBezTo>
                  <a:pt x="3263" y="1236"/>
                  <a:pt x="3264" y="1235"/>
                  <a:pt x="3265" y="1234"/>
                </a:cubicBezTo>
                <a:lnTo>
                  <a:pt x="3265" y="1234"/>
                </a:lnTo>
                <a:cubicBezTo>
                  <a:pt x="3267" y="1228"/>
                  <a:pt x="3269" y="1224"/>
                  <a:pt x="3272" y="1219"/>
                </a:cubicBezTo>
                <a:lnTo>
                  <a:pt x="3272" y="1219"/>
                </a:lnTo>
                <a:cubicBezTo>
                  <a:pt x="3273" y="1216"/>
                  <a:pt x="3273" y="1214"/>
                  <a:pt x="3275" y="1213"/>
                </a:cubicBezTo>
                <a:lnTo>
                  <a:pt x="3275" y="1213"/>
                </a:lnTo>
                <a:cubicBezTo>
                  <a:pt x="3277" y="1208"/>
                  <a:pt x="3279" y="1204"/>
                  <a:pt x="3281" y="1199"/>
                </a:cubicBezTo>
                <a:lnTo>
                  <a:pt x="3281" y="1199"/>
                </a:lnTo>
                <a:cubicBezTo>
                  <a:pt x="3282" y="1197"/>
                  <a:pt x="3282" y="1195"/>
                  <a:pt x="3283" y="1193"/>
                </a:cubicBezTo>
                <a:lnTo>
                  <a:pt x="3283" y="1193"/>
                </a:lnTo>
                <a:cubicBezTo>
                  <a:pt x="3286" y="1188"/>
                  <a:pt x="3288" y="1183"/>
                  <a:pt x="3290" y="1178"/>
                </a:cubicBezTo>
                <a:lnTo>
                  <a:pt x="3290" y="1178"/>
                </a:lnTo>
                <a:cubicBezTo>
                  <a:pt x="3290" y="1177"/>
                  <a:pt x="3291" y="1176"/>
                  <a:pt x="3291" y="1175"/>
                </a:cubicBezTo>
                <a:lnTo>
                  <a:pt x="3291" y="1175"/>
                </a:lnTo>
                <a:cubicBezTo>
                  <a:pt x="3293" y="1169"/>
                  <a:pt x="3296" y="1163"/>
                  <a:pt x="3298" y="1157"/>
                </a:cubicBezTo>
                <a:lnTo>
                  <a:pt x="3298" y="1157"/>
                </a:lnTo>
                <a:cubicBezTo>
                  <a:pt x="3299" y="1156"/>
                  <a:pt x="3299" y="1155"/>
                  <a:pt x="3299" y="1154"/>
                </a:cubicBezTo>
                <a:lnTo>
                  <a:pt x="3299" y="1154"/>
                </a:lnTo>
                <a:cubicBezTo>
                  <a:pt x="3301" y="1150"/>
                  <a:pt x="3303" y="1145"/>
                  <a:pt x="3304" y="1140"/>
                </a:cubicBezTo>
                <a:lnTo>
                  <a:pt x="3304" y="1140"/>
                </a:lnTo>
                <a:cubicBezTo>
                  <a:pt x="3305" y="1138"/>
                  <a:pt x="3306" y="1137"/>
                  <a:pt x="3306" y="1135"/>
                </a:cubicBezTo>
                <a:lnTo>
                  <a:pt x="3306" y="1135"/>
                </a:lnTo>
                <a:cubicBezTo>
                  <a:pt x="3308" y="1131"/>
                  <a:pt x="3309" y="1127"/>
                  <a:pt x="3310" y="1124"/>
                </a:cubicBezTo>
                <a:lnTo>
                  <a:pt x="3310" y="1124"/>
                </a:lnTo>
                <a:cubicBezTo>
                  <a:pt x="3310" y="1122"/>
                  <a:pt x="3311" y="1120"/>
                  <a:pt x="3312" y="1118"/>
                </a:cubicBezTo>
                <a:lnTo>
                  <a:pt x="3312" y="1118"/>
                </a:lnTo>
                <a:cubicBezTo>
                  <a:pt x="3313" y="1114"/>
                  <a:pt x="3314" y="1110"/>
                  <a:pt x="3316" y="1107"/>
                </a:cubicBezTo>
                <a:lnTo>
                  <a:pt x="3316" y="1107"/>
                </a:lnTo>
                <a:cubicBezTo>
                  <a:pt x="3316" y="1105"/>
                  <a:pt x="3316" y="1104"/>
                  <a:pt x="3316" y="1103"/>
                </a:cubicBezTo>
                <a:lnTo>
                  <a:pt x="3316" y="1103"/>
                </a:lnTo>
                <a:cubicBezTo>
                  <a:pt x="3318" y="1098"/>
                  <a:pt x="3319" y="1093"/>
                  <a:pt x="3320" y="1088"/>
                </a:cubicBezTo>
                <a:lnTo>
                  <a:pt x="3320" y="1088"/>
                </a:lnTo>
                <a:cubicBezTo>
                  <a:pt x="3321" y="1088"/>
                  <a:pt x="3321" y="1088"/>
                  <a:pt x="3321" y="1087"/>
                </a:cubicBezTo>
                <a:lnTo>
                  <a:pt x="3321" y="1087"/>
                </a:lnTo>
                <a:cubicBezTo>
                  <a:pt x="3322" y="1083"/>
                  <a:pt x="3323" y="1079"/>
                  <a:pt x="3324" y="1074"/>
                </a:cubicBezTo>
                <a:lnTo>
                  <a:pt x="3324" y="1074"/>
                </a:lnTo>
                <a:cubicBezTo>
                  <a:pt x="3324" y="1073"/>
                  <a:pt x="3324" y="1072"/>
                  <a:pt x="3325" y="1070"/>
                </a:cubicBezTo>
                <a:lnTo>
                  <a:pt x="3325" y="1070"/>
                </a:lnTo>
                <a:cubicBezTo>
                  <a:pt x="3326" y="1067"/>
                  <a:pt x="3326" y="1064"/>
                  <a:pt x="3328" y="1060"/>
                </a:cubicBezTo>
                <a:lnTo>
                  <a:pt x="3328" y="1060"/>
                </a:lnTo>
                <a:cubicBezTo>
                  <a:pt x="3328" y="1059"/>
                  <a:pt x="3328" y="1058"/>
                  <a:pt x="3328" y="1056"/>
                </a:cubicBezTo>
                <a:lnTo>
                  <a:pt x="3328" y="1056"/>
                </a:lnTo>
                <a:cubicBezTo>
                  <a:pt x="3329" y="1053"/>
                  <a:pt x="3329" y="1050"/>
                  <a:pt x="3330" y="1047"/>
                </a:cubicBezTo>
                <a:lnTo>
                  <a:pt x="3330" y="1047"/>
                </a:lnTo>
                <a:cubicBezTo>
                  <a:pt x="3330" y="1046"/>
                  <a:pt x="3330" y="1045"/>
                  <a:pt x="3330" y="1044"/>
                </a:cubicBezTo>
                <a:lnTo>
                  <a:pt x="3330" y="1044"/>
                </a:lnTo>
                <a:cubicBezTo>
                  <a:pt x="3332" y="1035"/>
                  <a:pt x="3333" y="1028"/>
                  <a:pt x="3334" y="1021"/>
                </a:cubicBezTo>
                <a:lnTo>
                  <a:pt x="3334" y="1021"/>
                </a:lnTo>
                <a:cubicBezTo>
                  <a:pt x="3334" y="1020"/>
                  <a:pt x="3334" y="1019"/>
                  <a:pt x="3334" y="1017"/>
                </a:cubicBezTo>
                <a:lnTo>
                  <a:pt x="3334" y="1017"/>
                </a:lnTo>
                <a:cubicBezTo>
                  <a:pt x="3334" y="1015"/>
                  <a:pt x="3335" y="1013"/>
                  <a:pt x="3335" y="1010"/>
                </a:cubicBezTo>
                <a:lnTo>
                  <a:pt x="3335" y="1010"/>
                </a:lnTo>
                <a:cubicBezTo>
                  <a:pt x="3335" y="1009"/>
                  <a:pt x="3336" y="1008"/>
                  <a:pt x="3336" y="1007"/>
                </a:cubicBezTo>
                <a:lnTo>
                  <a:pt x="3336" y="1007"/>
                </a:lnTo>
                <a:cubicBezTo>
                  <a:pt x="3336" y="1004"/>
                  <a:pt x="3336" y="1003"/>
                  <a:pt x="3336" y="1000"/>
                </a:cubicBezTo>
                <a:lnTo>
                  <a:pt x="3336" y="1000"/>
                </a:lnTo>
                <a:cubicBezTo>
                  <a:pt x="3336" y="999"/>
                  <a:pt x="3336" y="998"/>
                  <a:pt x="3336" y="997"/>
                </a:cubicBezTo>
                <a:lnTo>
                  <a:pt x="3336" y="997"/>
                </a:lnTo>
                <a:cubicBezTo>
                  <a:pt x="3336" y="995"/>
                  <a:pt x="3336" y="993"/>
                  <a:pt x="3337" y="991"/>
                </a:cubicBezTo>
                <a:lnTo>
                  <a:pt x="3337" y="991"/>
                </a:lnTo>
                <a:cubicBezTo>
                  <a:pt x="3337" y="990"/>
                  <a:pt x="3337" y="989"/>
                  <a:pt x="3337" y="988"/>
                </a:cubicBezTo>
                <a:lnTo>
                  <a:pt x="3337" y="988"/>
                </a:lnTo>
                <a:cubicBezTo>
                  <a:pt x="3337" y="986"/>
                  <a:pt x="3337" y="983"/>
                  <a:pt x="3337" y="980"/>
                </a:cubicBezTo>
                <a:lnTo>
                  <a:pt x="3337" y="980"/>
                </a:lnTo>
                <a:cubicBezTo>
                  <a:pt x="3337" y="979"/>
                  <a:pt x="3337" y="978"/>
                  <a:pt x="3337" y="977"/>
                </a:cubicBezTo>
                <a:lnTo>
                  <a:pt x="3337" y="977"/>
                </a:lnTo>
                <a:cubicBezTo>
                  <a:pt x="3337" y="976"/>
                  <a:pt x="3337" y="974"/>
                  <a:pt x="3337" y="973"/>
                </a:cubicBezTo>
                <a:lnTo>
                  <a:pt x="3337" y="973"/>
                </a:lnTo>
                <a:cubicBezTo>
                  <a:pt x="3337" y="972"/>
                  <a:pt x="3337" y="971"/>
                  <a:pt x="3337" y="970"/>
                </a:cubicBezTo>
                <a:lnTo>
                  <a:pt x="3337" y="970"/>
                </a:lnTo>
                <a:cubicBezTo>
                  <a:pt x="3337" y="969"/>
                  <a:pt x="3337" y="968"/>
                  <a:pt x="3337" y="967"/>
                </a:cubicBezTo>
                <a:lnTo>
                  <a:pt x="3337" y="967"/>
                </a:lnTo>
                <a:cubicBezTo>
                  <a:pt x="3337" y="966"/>
                  <a:pt x="3337" y="964"/>
                  <a:pt x="3337" y="963"/>
                </a:cubicBezTo>
                <a:lnTo>
                  <a:pt x="3337" y="963"/>
                </a:lnTo>
                <a:lnTo>
                  <a:pt x="3337" y="962"/>
                </a:lnTo>
                <a:lnTo>
                  <a:pt x="3337" y="962"/>
                </a:lnTo>
                <a:cubicBezTo>
                  <a:pt x="3336" y="946"/>
                  <a:pt x="3334" y="938"/>
                  <a:pt x="3334" y="938"/>
                </a:cubicBezTo>
                <a:lnTo>
                  <a:pt x="3334" y="938"/>
                </a:lnTo>
                <a:cubicBezTo>
                  <a:pt x="3327" y="843"/>
                  <a:pt x="3297" y="778"/>
                  <a:pt x="3259" y="733"/>
                </a:cubicBezTo>
                <a:lnTo>
                  <a:pt x="3259" y="733"/>
                </a:lnTo>
                <a:cubicBezTo>
                  <a:pt x="3256" y="730"/>
                  <a:pt x="3253" y="726"/>
                  <a:pt x="3250" y="723"/>
                </a:cubicBezTo>
                <a:lnTo>
                  <a:pt x="3250" y="723"/>
                </a:lnTo>
                <a:cubicBezTo>
                  <a:pt x="3249" y="721"/>
                  <a:pt x="3248" y="720"/>
                  <a:pt x="3246" y="719"/>
                </a:cubicBezTo>
                <a:lnTo>
                  <a:pt x="3246" y="719"/>
                </a:lnTo>
                <a:cubicBezTo>
                  <a:pt x="3244" y="716"/>
                  <a:pt x="3241" y="714"/>
                  <a:pt x="3239" y="711"/>
                </a:cubicBezTo>
                <a:lnTo>
                  <a:pt x="3239" y="711"/>
                </a:lnTo>
                <a:cubicBezTo>
                  <a:pt x="3238" y="710"/>
                  <a:pt x="3237" y="709"/>
                  <a:pt x="3236" y="708"/>
                </a:cubicBezTo>
                <a:lnTo>
                  <a:pt x="3236" y="708"/>
                </a:lnTo>
                <a:cubicBezTo>
                  <a:pt x="3232" y="706"/>
                  <a:pt x="3229" y="703"/>
                  <a:pt x="3226" y="700"/>
                </a:cubicBezTo>
                <a:lnTo>
                  <a:pt x="3226" y="700"/>
                </a:lnTo>
                <a:cubicBezTo>
                  <a:pt x="3225" y="698"/>
                  <a:pt x="3223" y="698"/>
                  <a:pt x="3222" y="697"/>
                </a:cubicBezTo>
                <a:lnTo>
                  <a:pt x="3222" y="697"/>
                </a:lnTo>
                <a:cubicBezTo>
                  <a:pt x="3219" y="694"/>
                  <a:pt x="3217" y="693"/>
                  <a:pt x="3215" y="691"/>
                </a:cubicBezTo>
                <a:lnTo>
                  <a:pt x="3215" y="691"/>
                </a:lnTo>
                <a:cubicBezTo>
                  <a:pt x="3213" y="690"/>
                  <a:pt x="3212" y="689"/>
                  <a:pt x="3211" y="689"/>
                </a:cubicBezTo>
                <a:lnTo>
                  <a:pt x="3211" y="689"/>
                </a:lnTo>
                <a:cubicBezTo>
                  <a:pt x="3208" y="686"/>
                  <a:pt x="3204" y="683"/>
                  <a:pt x="3201" y="681"/>
                </a:cubicBezTo>
                <a:lnTo>
                  <a:pt x="3201" y="681"/>
                </a:lnTo>
                <a:cubicBezTo>
                  <a:pt x="3199" y="680"/>
                  <a:pt x="3198" y="680"/>
                  <a:pt x="3197" y="679"/>
                </a:cubicBezTo>
                <a:lnTo>
                  <a:pt x="3197" y="679"/>
                </a:lnTo>
                <a:cubicBezTo>
                  <a:pt x="3195" y="677"/>
                  <a:pt x="3192" y="676"/>
                  <a:pt x="3189" y="674"/>
                </a:cubicBezTo>
                <a:lnTo>
                  <a:pt x="3189" y="674"/>
                </a:lnTo>
                <a:cubicBezTo>
                  <a:pt x="3188" y="673"/>
                  <a:pt x="3187" y="673"/>
                  <a:pt x="3186" y="672"/>
                </a:cubicBezTo>
                <a:lnTo>
                  <a:pt x="3186" y="672"/>
                </a:lnTo>
                <a:cubicBezTo>
                  <a:pt x="3182" y="670"/>
                  <a:pt x="3179" y="669"/>
                  <a:pt x="3176" y="667"/>
                </a:cubicBezTo>
                <a:lnTo>
                  <a:pt x="3176" y="667"/>
                </a:lnTo>
                <a:cubicBezTo>
                  <a:pt x="3175" y="666"/>
                  <a:pt x="3174" y="666"/>
                  <a:pt x="3172" y="665"/>
                </a:cubicBezTo>
                <a:lnTo>
                  <a:pt x="3172" y="665"/>
                </a:lnTo>
                <a:cubicBezTo>
                  <a:pt x="3170" y="664"/>
                  <a:pt x="3167" y="663"/>
                  <a:pt x="3165" y="661"/>
                </a:cubicBezTo>
                <a:lnTo>
                  <a:pt x="3165" y="661"/>
                </a:lnTo>
                <a:cubicBezTo>
                  <a:pt x="3164" y="661"/>
                  <a:pt x="3162" y="660"/>
                  <a:pt x="3161" y="660"/>
                </a:cubicBezTo>
                <a:lnTo>
                  <a:pt x="3161" y="660"/>
                </a:lnTo>
                <a:cubicBezTo>
                  <a:pt x="3158" y="658"/>
                  <a:pt x="3155" y="657"/>
                  <a:pt x="3151" y="656"/>
                </a:cubicBezTo>
                <a:lnTo>
                  <a:pt x="3151" y="656"/>
                </a:lnTo>
                <a:cubicBezTo>
                  <a:pt x="3151" y="655"/>
                  <a:pt x="3150" y="655"/>
                  <a:pt x="3149" y="655"/>
                </a:cubicBezTo>
                <a:lnTo>
                  <a:pt x="3149" y="655"/>
                </a:lnTo>
                <a:cubicBezTo>
                  <a:pt x="3146" y="653"/>
                  <a:pt x="3144" y="652"/>
                  <a:pt x="3141" y="651"/>
                </a:cubicBezTo>
                <a:lnTo>
                  <a:pt x="3141" y="651"/>
                </a:lnTo>
                <a:cubicBezTo>
                  <a:pt x="3140" y="651"/>
                  <a:pt x="3138" y="650"/>
                  <a:pt x="3137" y="650"/>
                </a:cubicBezTo>
                <a:lnTo>
                  <a:pt x="3137" y="650"/>
                </a:lnTo>
                <a:cubicBezTo>
                  <a:pt x="3135" y="649"/>
                  <a:pt x="3132" y="649"/>
                  <a:pt x="3130" y="647"/>
                </a:cubicBezTo>
                <a:lnTo>
                  <a:pt x="3130" y="647"/>
                </a:lnTo>
                <a:cubicBezTo>
                  <a:pt x="3128" y="647"/>
                  <a:pt x="3128" y="647"/>
                  <a:pt x="3127" y="647"/>
                </a:cubicBezTo>
                <a:lnTo>
                  <a:pt x="3127" y="647"/>
                </a:lnTo>
                <a:cubicBezTo>
                  <a:pt x="3124" y="646"/>
                  <a:pt x="3121" y="645"/>
                  <a:pt x="3118" y="645"/>
                </a:cubicBezTo>
                <a:lnTo>
                  <a:pt x="3118" y="645"/>
                </a:lnTo>
                <a:cubicBezTo>
                  <a:pt x="3118" y="644"/>
                  <a:pt x="3117" y="644"/>
                  <a:pt x="3116" y="643"/>
                </a:cubicBezTo>
                <a:lnTo>
                  <a:pt x="3116" y="643"/>
                </a:lnTo>
                <a:cubicBezTo>
                  <a:pt x="3113" y="643"/>
                  <a:pt x="3111" y="642"/>
                  <a:pt x="3109" y="641"/>
                </a:cubicBezTo>
                <a:lnTo>
                  <a:pt x="3109" y="641"/>
                </a:lnTo>
                <a:cubicBezTo>
                  <a:pt x="3108" y="641"/>
                  <a:pt x="3107" y="641"/>
                  <a:pt x="3107" y="641"/>
                </a:cubicBezTo>
                <a:lnTo>
                  <a:pt x="3107" y="641"/>
                </a:lnTo>
                <a:cubicBezTo>
                  <a:pt x="3104" y="640"/>
                  <a:pt x="3101" y="640"/>
                  <a:pt x="3099" y="640"/>
                </a:cubicBezTo>
                <a:lnTo>
                  <a:pt x="3099" y="640"/>
                </a:lnTo>
                <a:cubicBezTo>
                  <a:pt x="3098" y="639"/>
                  <a:pt x="3097" y="639"/>
                  <a:pt x="3096" y="639"/>
                </a:cubicBezTo>
                <a:lnTo>
                  <a:pt x="3096" y="639"/>
                </a:lnTo>
                <a:cubicBezTo>
                  <a:pt x="3094" y="639"/>
                  <a:pt x="3092" y="639"/>
                  <a:pt x="3091" y="638"/>
                </a:cubicBezTo>
                <a:lnTo>
                  <a:pt x="3091" y="638"/>
                </a:lnTo>
                <a:cubicBezTo>
                  <a:pt x="3090" y="638"/>
                  <a:pt x="3089" y="638"/>
                  <a:pt x="3088" y="637"/>
                </a:cubicBezTo>
                <a:lnTo>
                  <a:pt x="3088" y="637"/>
                </a:lnTo>
                <a:cubicBezTo>
                  <a:pt x="3086" y="637"/>
                  <a:pt x="3084" y="637"/>
                  <a:pt x="3082" y="637"/>
                </a:cubicBezTo>
                <a:lnTo>
                  <a:pt x="3082" y="637"/>
                </a:lnTo>
                <a:cubicBezTo>
                  <a:pt x="3081" y="636"/>
                  <a:pt x="3081" y="636"/>
                  <a:pt x="3080" y="636"/>
                </a:cubicBezTo>
                <a:lnTo>
                  <a:pt x="3080" y="636"/>
                </a:lnTo>
                <a:cubicBezTo>
                  <a:pt x="3078" y="636"/>
                  <a:pt x="3077" y="636"/>
                  <a:pt x="3076" y="636"/>
                </a:cubicBezTo>
                <a:lnTo>
                  <a:pt x="3076" y="636"/>
                </a:lnTo>
                <a:cubicBezTo>
                  <a:pt x="3075" y="636"/>
                  <a:pt x="3074" y="636"/>
                  <a:pt x="3074" y="636"/>
                </a:cubicBezTo>
                <a:lnTo>
                  <a:pt x="3074" y="636"/>
                </a:lnTo>
                <a:cubicBezTo>
                  <a:pt x="3072" y="635"/>
                  <a:pt x="3070" y="635"/>
                  <a:pt x="3069" y="635"/>
                </a:cubicBezTo>
                <a:lnTo>
                  <a:pt x="3069" y="635"/>
                </a:lnTo>
                <a:cubicBezTo>
                  <a:pt x="3068" y="635"/>
                  <a:pt x="3068" y="635"/>
                  <a:pt x="3068" y="635"/>
                </a:cubicBezTo>
                <a:lnTo>
                  <a:pt x="3068" y="635"/>
                </a:lnTo>
                <a:cubicBezTo>
                  <a:pt x="3067" y="635"/>
                  <a:pt x="3066" y="635"/>
                  <a:pt x="3064" y="635"/>
                </a:cubicBezTo>
                <a:lnTo>
                  <a:pt x="3064" y="635"/>
                </a:lnTo>
                <a:lnTo>
                  <a:pt x="3064" y="635"/>
                </a:lnTo>
                <a:lnTo>
                  <a:pt x="3064" y="635"/>
                </a:lnTo>
                <a:cubicBezTo>
                  <a:pt x="3063" y="635"/>
                  <a:pt x="3061" y="635"/>
                  <a:pt x="3061" y="635"/>
                </a:cubicBezTo>
                <a:lnTo>
                  <a:pt x="3061" y="635"/>
                </a:lnTo>
                <a:cubicBezTo>
                  <a:pt x="3060" y="635"/>
                  <a:pt x="3060" y="635"/>
                  <a:pt x="3060" y="635"/>
                </a:cubicBezTo>
                <a:lnTo>
                  <a:pt x="3060" y="635"/>
                </a:lnTo>
                <a:cubicBezTo>
                  <a:pt x="3060" y="635"/>
                  <a:pt x="3059" y="635"/>
                  <a:pt x="3058" y="635"/>
                </a:cubicBezTo>
                <a:lnTo>
                  <a:pt x="3058" y="635"/>
                </a:lnTo>
                <a:lnTo>
                  <a:pt x="3058" y="635"/>
                </a:lnTo>
                <a:lnTo>
                  <a:pt x="3058" y="635"/>
                </a:lnTo>
                <a:lnTo>
                  <a:pt x="3058" y="635"/>
                </a:lnTo>
                <a:lnTo>
                  <a:pt x="3058" y="635"/>
                </a:lnTo>
                <a:cubicBezTo>
                  <a:pt x="3053" y="113"/>
                  <a:pt x="2410" y="224"/>
                  <a:pt x="2315" y="226"/>
                </a:cubicBezTo>
                <a:lnTo>
                  <a:pt x="2315" y="226"/>
                </a:lnTo>
                <a:cubicBezTo>
                  <a:pt x="2296" y="226"/>
                  <a:pt x="2275" y="220"/>
                  <a:pt x="2254" y="209"/>
                </a:cubicBezTo>
                <a:lnTo>
                  <a:pt x="2254" y="209"/>
                </a:lnTo>
                <a:lnTo>
                  <a:pt x="2254" y="209"/>
                </a:lnTo>
                <a:lnTo>
                  <a:pt x="2254" y="209"/>
                </a:lnTo>
                <a:cubicBezTo>
                  <a:pt x="2176" y="171"/>
                  <a:pt x="2095" y="74"/>
                  <a:pt x="2085" y="62"/>
                </a:cubicBezTo>
                <a:lnTo>
                  <a:pt x="2085" y="62"/>
                </a:lnTo>
                <a:cubicBezTo>
                  <a:pt x="2085" y="62"/>
                  <a:pt x="2085" y="62"/>
                  <a:pt x="2084" y="62"/>
                </a:cubicBezTo>
                <a:lnTo>
                  <a:pt x="2084" y="62"/>
                </a:lnTo>
                <a:lnTo>
                  <a:pt x="2084" y="61"/>
                </a:lnTo>
                <a:lnTo>
                  <a:pt x="2084" y="61"/>
                </a:lnTo>
                <a:lnTo>
                  <a:pt x="2084" y="61"/>
                </a:lnTo>
                <a:lnTo>
                  <a:pt x="2056" y="173"/>
                </a:lnTo>
                <a:lnTo>
                  <a:pt x="2056" y="173"/>
                </a:lnTo>
                <a:cubicBezTo>
                  <a:pt x="2028" y="129"/>
                  <a:pt x="2030" y="0"/>
                  <a:pt x="2030" y="0"/>
                </a:cubicBezTo>
                <a:lnTo>
                  <a:pt x="2030" y="0"/>
                </a:lnTo>
                <a:cubicBezTo>
                  <a:pt x="1924" y="28"/>
                  <a:pt x="1863" y="251"/>
                  <a:pt x="1863" y="251"/>
                </a:cubicBezTo>
                <a:lnTo>
                  <a:pt x="1863" y="251"/>
                </a:lnTo>
                <a:cubicBezTo>
                  <a:pt x="1822" y="199"/>
                  <a:pt x="1831" y="125"/>
                  <a:pt x="1831" y="125"/>
                </a:cubicBezTo>
                <a:lnTo>
                  <a:pt x="1831" y="125"/>
                </a:lnTo>
                <a:cubicBezTo>
                  <a:pt x="1831" y="125"/>
                  <a:pt x="1655" y="280"/>
                  <a:pt x="1741" y="467"/>
                </a:cubicBezTo>
                <a:lnTo>
                  <a:pt x="1741" y="467"/>
                </a:lnTo>
                <a:cubicBezTo>
                  <a:pt x="1753" y="495"/>
                  <a:pt x="1767" y="520"/>
                  <a:pt x="1782" y="544"/>
                </a:cubicBezTo>
                <a:lnTo>
                  <a:pt x="1782" y="544"/>
                </a:lnTo>
                <a:cubicBezTo>
                  <a:pt x="1775" y="547"/>
                  <a:pt x="1767" y="552"/>
                  <a:pt x="1760" y="557"/>
                </a:cubicBezTo>
                <a:lnTo>
                  <a:pt x="1759" y="557"/>
                </a:lnTo>
                <a:lnTo>
                  <a:pt x="1759" y="557"/>
                </a:lnTo>
                <a:cubicBezTo>
                  <a:pt x="1753" y="562"/>
                  <a:pt x="1746" y="567"/>
                  <a:pt x="1740" y="572"/>
                </a:cubicBezTo>
                <a:lnTo>
                  <a:pt x="1738" y="573"/>
                </a:lnTo>
                <a:lnTo>
                  <a:pt x="1738" y="573"/>
                </a:lnTo>
                <a:cubicBezTo>
                  <a:pt x="1732" y="579"/>
                  <a:pt x="1726" y="584"/>
                  <a:pt x="1720" y="590"/>
                </a:cubicBezTo>
                <a:lnTo>
                  <a:pt x="1720" y="590"/>
                </a:lnTo>
                <a:lnTo>
                  <a:pt x="1720" y="590"/>
                </a:lnTo>
                <a:lnTo>
                  <a:pt x="1720" y="590"/>
                </a:lnTo>
                <a:cubicBezTo>
                  <a:pt x="1625" y="679"/>
                  <a:pt x="1579" y="820"/>
                  <a:pt x="1608" y="945"/>
                </a:cubicBezTo>
                <a:lnTo>
                  <a:pt x="1608" y="945"/>
                </a:lnTo>
                <a:cubicBezTo>
                  <a:pt x="1610" y="955"/>
                  <a:pt x="1613" y="965"/>
                  <a:pt x="1612" y="975"/>
                </a:cubicBezTo>
                <a:lnTo>
                  <a:pt x="1612" y="975"/>
                </a:lnTo>
                <a:cubicBezTo>
                  <a:pt x="1612" y="979"/>
                  <a:pt x="1612" y="983"/>
                  <a:pt x="1611" y="986"/>
                </a:cubicBezTo>
                <a:lnTo>
                  <a:pt x="1611" y="986"/>
                </a:lnTo>
                <a:cubicBezTo>
                  <a:pt x="1610" y="989"/>
                  <a:pt x="1610" y="991"/>
                  <a:pt x="1609" y="993"/>
                </a:cubicBezTo>
                <a:lnTo>
                  <a:pt x="1609" y="993"/>
                </a:lnTo>
                <a:cubicBezTo>
                  <a:pt x="1607" y="1000"/>
                  <a:pt x="1604" y="1006"/>
                  <a:pt x="1601" y="1012"/>
                </a:cubicBezTo>
                <a:lnTo>
                  <a:pt x="1601" y="1012"/>
                </a:lnTo>
                <a:cubicBezTo>
                  <a:pt x="1600" y="1015"/>
                  <a:pt x="1595" y="1029"/>
                  <a:pt x="1590" y="1048"/>
                </a:cubicBezTo>
                <a:lnTo>
                  <a:pt x="1590" y="1048"/>
                </a:lnTo>
                <a:cubicBezTo>
                  <a:pt x="1566" y="1028"/>
                  <a:pt x="1529" y="1012"/>
                  <a:pt x="1480" y="1035"/>
                </a:cubicBezTo>
                <a:lnTo>
                  <a:pt x="1480" y="1035"/>
                </a:lnTo>
                <a:cubicBezTo>
                  <a:pt x="1436" y="1057"/>
                  <a:pt x="1412" y="1129"/>
                  <a:pt x="1408" y="1206"/>
                </a:cubicBezTo>
                <a:lnTo>
                  <a:pt x="1408" y="1206"/>
                </a:lnTo>
                <a:lnTo>
                  <a:pt x="1408" y="1206"/>
                </a:lnTo>
                <a:cubicBezTo>
                  <a:pt x="1408" y="1213"/>
                  <a:pt x="1408" y="1219"/>
                  <a:pt x="1408" y="1225"/>
                </a:cubicBezTo>
                <a:lnTo>
                  <a:pt x="1408" y="1225"/>
                </a:lnTo>
                <a:cubicBezTo>
                  <a:pt x="1407" y="1227"/>
                  <a:pt x="1407" y="1228"/>
                  <a:pt x="1407" y="1229"/>
                </a:cubicBezTo>
                <a:lnTo>
                  <a:pt x="1407" y="1229"/>
                </a:lnTo>
                <a:cubicBezTo>
                  <a:pt x="1407" y="1235"/>
                  <a:pt x="1408" y="1239"/>
                  <a:pt x="1408" y="1245"/>
                </a:cubicBezTo>
                <a:lnTo>
                  <a:pt x="1408" y="1245"/>
                </a:lnTo>
                <a:cubicBezTo>
                  <a:pt x="1408" y="1246"/>
                  <a:pt x="1408" y="1248"/>
                  <a:pt x="1408" y="1249"/>
                </a:cubicBezTo>
                <a:lnTo>
                  <a:pt x="1408" y="1249"/>
                </a:lnTo>
                <a:cubicBezTo>
                  <a:pt x="1408" y="1254"/>
                  <a:pt x="1408" y="1259"/>
                  <a:pt x="1409" y="1264"/>
                </a:cubicBezTo>
                <a:lnTo>
                  <a:pt x="1409" y="1264"/>
                </a:lnTo>
                <a:cubicBezTo>
                  <a:pt x="1409" y="1265"/>
                  <a:pt x="1409" y="1267"/>
                  <a:pt x="1409" y="1269"/>
                </a:cubicBezTo>
                <a:lnTo>
                  <a:pt x="1409" y="1269"/>
                </a:lnTo>
                <a:cubicBezTo>
                  <a:pt x="1409" y="1271"/>
                  <a:pt x="1409" y="1274"/>
                  <a:pt x="1410" y="1277"/>
                </a:cubicBezTo>
                <a:lnTo>
                  <a:pt x="1410" y="1277"/>
                </a:lnTo>
                <a:cubicBezTo>
                  <a:pt x="1410" y="1279"/>
                  <a:pt x="1410" y="1281"/>
                  <a:pt x="1410" y="1284"/>
                </a:cubicBezTo>
                <a:lnTo>
                  <a:pt x="1410" y="1284"/>
                </a:lnTo>
                <a:cubicBezTo>
                  <a:pt x="1411" y="1287"/>
                  <a:pt x="1412" y="1291"/>
                  <a:pt x="1412" y="1295"/>
                </a:cubicBezTo>
                <a:lnTo>
                  <a:pt x="1412" y="1295"/>
                </a:lnTo>
                <a:cubicBezTo>
                  <a:pt x="1412" y="1297"/>
                  <a:pt x="1413" y="1299"/>
                  <a:pt x="1413" y="1302"/>
                </a:cubicBezTo>
                <a:lnTo>
                  <a:pt x="1413" y="1302"/>
                </a:lnTo>
                <a:cubicBezTo>
                  <a:pt x="1413" y="1305"/>
                  <a:pt x="1414" y="1307"/>
                  <a:pt x="1415" y="1310"/>
                </a:cubicBezTo>
                <a:lnTo>
                  <a:pt x="1415" y="1310"/>
                </a:lnTo>
                <a:cubicBezTo>
                  <a:pt x="1415" y="1313"/>
                  <a:pt x="1416" y="1316"/>
                  <a:pt x="1417" y="1320"/>
                </a:cubicBezTo>
                <a:lnTo>
                  <a:pt x="1417" y="1320"/>
                </a:lnTo>
                <a:cubicBezTo>
                  <a:pt x="1417" y="1322"/>
                  <a:pt x="1418" y="1324"/>
                  <a:pt x="1418" y="1326"/>
                </a:cubicBezTo>
                <a:lnTo>
                  <a:pt x="1418" y="1326"/>
                </a:lnTo>
                <a:cubicBezTo>
                  <a:pt x="1419" y="1330"/>
                  <a:pt x="1420" y="1334"/>
                  <a:pt x="1421" y="1337"/>
                </a:cubicBezTo>
                <a:lnTo>
                  <a:pt x="1421" y="1337"/>
                </a:lnTo>
                <a:cubicBezTo>
                  <a:pt x="1422" y="1339"/>
                  <a:pt x="1422" y="1340"/>
                  <a:pt x="1423" y="1342"/>
                </a:cubicBezTo>
                <a:lnTo>
                  <a:pt x="1423" y="1342"/>
                </a:lnTo>
                <a:cubicBezTo>
                  <a:pt x="1423" y="1345"/>
                  <a:pt x="1425" y="1348"/>
                  <a:pt x="1426" y="1352"/>
                </a:cubicBezTo>
                <a:lnTo>
                  <a:pt x="1426" y="1352"/>
                </a:lnTo>
                <a:cubicBezTo>
                  <a:pt x="1426" y="1353"/>
                  <a:pt x="1426" y="1355"/>
                  <a:pt x="1427" y="1356"/>
                </a:cubicBezTo>
                <a:lnTo>
                  <a:pt x="1427" y="1356"/>
                </a:lnTo>
                <a:cubicBezTo>
                  <a:pt x="1428" y="1359"/>
                  <a:pt x="1430" y="1363"/>
                  <a:pt x="1431" y="1366"/>
                </a:cubicBezTo>
                <a:lnTo>
                  <a:pt x="1431" y="1366"/>
                </a:lnTo>
                <a:cubicBezTo>
                  <a:pt x="1431" y="1367"/>
                  <a:pt x="1432" y="1369"/>
                  <a:pt x="1433" y="1370"/>
                </a:cubicBezTo>
                <a:lnTo>
                  <a:pt x="1433" y="1370"/>
                </a:lnTo>
                <a:cubicBezTo>
                  <a:pt x="1435" y="1374"/>
                  <a:pt x="1436" y="1377"/>
                  <a:pt x="1438" y="1381"/>
                </a:cubicBezTo>
                <a:lnTo>
                  <a:pt x="1438" y="1381"/>
                </a:lnTo>
                <a:cubicBezTo>
                  <a:pt x="1438" y="1382"/>
                  <a:pt x="1439" y="1383"/>
                  <a:pt x="1439" y="1384"/>
                </a:cubicBezTo>
                <a:lnTo>
                  <a:pt x="1439" y="1384"/>
                </a:lnTo>
                <a:cubicBezTo>
                  <a:pt x="1441" y="1387"/>
                  <a:pt x="1443" y="1391"/>
                  <a:pt x="1445" y="1395"/>
                </a:cubicBezTo>
                <a:lnTo>
                  <a:pt x="1445" y="1395"/>
                </a:lnTo>
                <a:cubicBezTo>
                  <a:pt x="1446" y="1395"/>
                  <a:pt x="1446" y="1395"/>
                  <a:pt x="1446" y="1396"/>
                </a:cubicBezTo>
                <a:lnTo>
                  <a:pt x="1446" y="1396"/>
                </a:lnTo>
                <a:cubicBezTo>
                  <a:pt x="1448" y="1399"/>
                  <a:pt x="1450" y="1402"/>
                  <a:pt x="1452" y="1405"/>
                </a:cubicBezTo>
                <a:lnTo>
                  <a:pt x="1452" y="1405"/>
                </a:lnTo>
                <a:cubicBezTo>
                  <a:pt x="1453" y="1406"/>
                  <a:pt x="1453" y="1406"/>
                  <a:pt x="1453" y="1407"/>
                </a:cubicBezTo>
                <a:lnTo>
                  <a:pt x="1453" y="1407"/>
                </a:lnTo>
                <a:cubicBezTo>
                  <a:pt x="1456" y="1410"/>
                  <a:pt x="1458" y="1413"/>
                  <a:pt x="1461" y="1415"/>
                </a:cubicBezTo>
                <a:lnTo>
                  <a:pt x="1461" y="1415"/>
                </a:lnTo>
                <a:cubicBezTo>
                  <a:pt x="1461" y="1416"/>
                  <a:pt x="1462" y="1416"/>
                  <a:pt x="1463" y="1417"/>
                </a:cubicBezTo>
                <a:lnTo>
                  <a:pt x="1463" y="1417"/>
                </a:lnTo>
                <a:cubicBezTo>
                  <a:pt x="1465" y="1420"/>
                  <a:pt x="1468" y="1422"/>
                  <a:pt x="1470" y="1425"/>
                </a:cubicBezTo>
                <a:lnTo>
                  <a:pt x="1470" y="1425"/>
                </a:lnTo>
                <a:cubicBezTo>
                  <a:pt x="1471" y="1425"/>
                  <a:pt x="1471" y="1425"/>
                  <a:pt x="1471" y="1426"/>
                </a:cubicBezTo>
                <a:lnTo>
                  <a:pt x="1471" y="1426"/>
                </a:lnTo>
                <a:cubicBezTo>
                  <a:pt x="1474" y="1428"/>
                  <a:pt x="1478" y="1430"/>
                  <a:pt x="1480" y="1431"/>
                </a:cubicBezTo>
                <a:lnTo>
                  <a:pt x="1480" y="1431"/>
                </a:lnTo>
                <a:cubicBezTo>
                  <a:pt x="1480" y="1432"/>
                  <a:pt x="1481" y="1432"/>
                  <a:pt x="1481" y="1432"/>
                </a:cubicBezTo>
                <a:lnTo>
                  <a:pt x="1481" y="1432"/>
                </a:lnTo>
                <a:cubicBezTo>
                  <a:pt x="1484" y="1435"/>
                  <a:pt x="1488" y="1436"/>
                  <a:pt x="1490" y="1437"/>
                </a:cubicBezTo>
                <a:lnTo>
                  <a:pt x="1490" y="1437"/>
                </a:lnTo>
                <a:cubicBezTo>
                  <a:pt x="1491" y="1437"/>
                  <a:pt x="1491" y="1438"/>
                  <a:pt x="1492" y="1438"/>
                </a:cubicBezTo>
                <a:lnTo>
                  <a:pt x="1492" y="1438"/>
                </a:lnTo>
                <a:cubicBezTo>
                  <a:pt x="1496" y="1439"/>
                  <a:pt x="1499" y="1440"/>
                  <a:pt x="1502" y="1441"/>
                </a:cubicBezTo>
                <a:lnTo>
                  <a:pt x="1502" y="1441"/>
                </a:lnTo>
                <a:cubicBezTo>
                  <a:pt x="1503" y="1441"/>
                  <a:pt x="1503" y="1441"/>
                  <a:pt x="1504" y="1442"/>
                </a:cubicBezTo>
                <a:lnTo>
                  <a:pt x="1504" y="1442"/>
                </a:lnTo>
                <a:cubicBezTo>
                  <a:pt x="1508" y="1443"/>
                  <a:pt x="1511" y="1443"/>
                  <a:pt x="1515" y="1444"/>
                </a:cubicBezTo>
                <a:lnTo>
                  <a:pt x="1515" y="1444"/>
                </a:lnTo>
                <a:cubicBezTo>
                  <a:pt x="1508" y="1535"/>
                  <a:pt x="1517" y="1649"/>
                  <a:pt x="1574" y="1755"/>
                </a:cubicBezTo>
                <a:lnTo>
                  <a:pt x="1574" y="1755"/>
                </a:lnTo>
                <a:cubicBezTo>
                  <a:pt x="1574" y="1755"/>
                  <a:pt x="1574" y="1755"/>
                  <a:pt x="1574" y="1756"/>
                </a:cubicBezTo>
                <a:lnTo>
                  <a:pt x="1574" y="1756"/>
                </a:lnTo>
                <a:cubicBezTo>
                  <a:pt x="1576" y="1760"/>
                  <a:pt x="1579" y="1764"/>
                  <a:pt x="1581" y="1768"/>
                </a:cubicBezTo>
                <a:lnTo>
                  <a:pt x="1581" y="1768"/>
                </a:lnTo>
                <a:cubicBezTo>
                  <a:pt x="1581" y="1768"/>
                  <a:pt x="1581" y="1768"/>
                  <a:pt x="1581" y="1769"/>
                </a:cubicBezTo>
                <a:lnTo>
                  <a:pt x="1581" y="1769"/>
                </a:lnTo>
                <a:cubicBezTo>
                  <a:pt x="1591" y="1785"/>
                  <a:pt x="1602" y="1802"/>
                  <a:pt x="1614" y="1819"/>
                </a:cubicBezTo>
                <a:lnTo>
                  <a:pt x="1614" y="1819"/>
                </a:lnTo>
                <a:cubicBezTo>
                  <a:pt x="1614" y="1819"/>
                  <a:pt x="1615" y="1819"/>
                  <a:pt x="1615" y="1820"/>
                </a:cubicBezTo>
                <a:lnTo>
                  <a:pt x="1615" y="1820"/>
                </a:lnTo>
                <a:cubicBezTo>
                  <a:pt x="1618" y="1823"/>
                  <a:pt x="1620" y="1827"/>
                  <a:pt x="1623" y="1830"/>
                </a:cubicBezTo>
                <a:lnTo>
                  <a:pt x="1623" y="1830"/>
                </a:lnTo>
                <a:cubicBezTo>
                  <a:pt x="1624" y="1831"/>
                  <a:pt x="1624" y="1832"/>
                  <a:pt x="1624" y="1832"/>
                </a:cubicBezTo>
                <a:lnTo>
                  <a:pt x="1624" y="1832"/>
                </a:lnTo>
                <a:cubicBezTo>
                  <a:pt x="1628" y="1835"/>
                  <a:pt x="1631" y="1839"/>
                  <a:pt x="1634" y="1843"/>
                </a:cubicBezTo>
                <a:lnTo>
                  <a:pt x="1634" y="1843"/>
                </a:lnTo>
                <a:cubicBezTo>
                  <a:pt x="1634" y="1843"/>
                  <a:pt x="1634" y="1843"/>
                  <a:pt x="1634" y="1844"/>
                </a:cubicBezTo>
                <a:lnTo>
                  <a:pt x="1634" y="1844"/>
                </a:lnTo>
                <a:cubicBezTo>
                  <a:pt x="1641" y="1852"/>
                  <a:pt x="1648" y="1860"/>
                  <a:pt x="1656" y="1867"/>
                </a:cubicBezTo>
                <a:lnTo>
                  <a:pt x="1656" y="1867"/>
                </a:lnTo>
                <a:cubicBezTo>
                  <a:pt x="1656" y="1867"/>
                  <a:pt x="1656" y="1867"/>
                  <a:pt x="1657" y="1868"/>
                </a:cubicBezTo>
                <a:lnTo>
                  <a:pt x="1657" y="1868"/>
                </a:lnTo>
                <a:cubicBezTo>
                  <a:pt x="1660" y="1872"/>
                  <a:pt x="1664" y="1875"/>
                  <a:pt x="1667" y="1878"/>
                </a:cubicBezTo>
                <a:lnTo>
                  <a:pt x="1667" y="1878"/>
                </a:lnTo>
                <a:cubicBezTo>
                  <a:pt x="1668" y="1879"/>
                  <a:pt x="1668" y="1880"/>
                  <a:pt x="1670" y="1880"/>
                </a:cubicBezTo>
                <a:lnTo>
                  <a:pt x="1670" y="1880"/>
                </a:lnTo>
                <a:cubicBezTo>
                  <a:pt x="1672" y="1884"/>
                  <a:pt x="1675" y="1887"/>
                  <a:pt x="1679" y="1890"/>
                </a:cubicBezTo>
                <a:lnTo>
                  <a:pt x="1682" y="1892"/>
                </a:lnTo>
                <a:lnTo>
                  <a:pt x="1682" y="1892"/>
                </a:lnTo>
                <a:cubicBezTo>
                  <a:pt x="1685" y="1895"/>
                  <a:pt x="1688" y="1898"/>
                  <a:pt x="1692" y="1901"/>
                </a:cubicBezTo>
                <a:lnTo>
                  <a:pt x="1692" y="1901"/>
                </a:lnTo>
                <a:cubicBezTo>
                  <a:pt x="1692" y="1901"/>
                  <a:pt x="1693" y="1902"/>
                  <a:pt x="1694" y="1903"/>
                </a:cubicBezTo>
                <a:lnTo>
                  <a:pt x="1694" y="1903"/>
                </a:lnTo>
                <a:cubicBezTo>
                  <a:pt x="1702" y="1910"/>
                  <a:pt x="1712" y="1917"/>
                  <a:pt x="1721" y="1924"/>
                </a:cubicBezTo>
                <a:lnTo>
                  <a:pt x="1721" y="1924"/>
                </a:lnTo>
                <a:cubicBezTo>
                  <a:pt x="1721" y="1924"/>
                  <a:pt x="1722" y="1924"/>
                  <a:pt x="1722" y="1925"/>
                </a:cubicBezTo>
                <a:lnTo>
                  <a:pt x="1722" y="1925"/>
                </a:lnTo>
                <a:cubicBezTo>
                  <a:pt x="1726" y="1928"/>
                  <a:pt x="1731" y="1931"/>
                  <a:pt x="1735" y="1934"/>
                </a:cubicBezTo>
                <a:lnTo>
                  <a:pt x="1735" y="1934"/>
                </a:lnTo>
                <a:cubicBezTo>
                  <a:pt x="1736" y="1935"/>
                  <a:pt x="1737" y="1935"/>
                  <a:pt x="1738" y="1936"/>
                </a:cubicBezTo>
                <a:lnTo>
                  <a:pt x="1738" y="1936"/>
                </a:lnTo>
                <a:cubicBezTo>
                  <a:pt x="1742" y="1939"/>
                  <a:pt x="1746" y="1941"/>
                  <a:pt x="1749" y="1944"/>
                </a:cubicBezTo>
                <a:lnTo>
                  <a:pt x="1749" y="1944"/>
                </a:lnTo>
                <a:cubicBezTo>
                  <a:pt x="1751" y="1945"/>
                  <a:pt x="1752" y="1945"/>
                  <a:pt x="1753" y="1946"/>
                </a:cubicBezTo>
                <a:lnTo>
                  <a:pt x="1753" y="1946"/>
                </a:lnTo>
                <a:cubicBezTo>
                  <a:pt x="1758" y="1949"/>
                  <a:pt x="1761" y="1951"/>
                  <a:pt x="1765" y="1954"/>
                </a:cubicBezTo>
                <a:lnTo>
                  <a:pt x="1765" y="1954"/>
                </a:lnTo>
                <a:cubicBezTo>
                  <a:pt x="1766" y="1954"/>
                  <a:pt x="1768" y="1955"/>
                  <a:pt x="1769" y="1956"/>
                </a:cubicBezTo>
                <a:lnTo>
                  <a:pt x="1769" y="1956"/>
                </a:lnTo>
                <a:cubicBezTo>
                  <a:pt x="1773" y="1959"/>
                  <a:pt x="1778" y="1961"/>
                  <a:pt x="1782" y="1964"/>
                </a:cubicBezTo>
                <a:lnTo>
                  <a:pt x="1782" y="1964"/>
                </a:lnTo>
                <a:cubicBezTo>
                  <a:pt x="1783" y="1964"/>
                  <a:pt x="1784" y="1965"/>
                  <a:pt x="1785" y="1965"/>
                </a:cubicBezTo>
                <a:lnTo>
                  <a:pt x="1785" y="1965"/>
                </a:lnTo>
                <a:cubicBezTo>
                  <a:pt x="1791" y="1968"/>
                  <a:pt x="1796" y="1971"/>
                  <a:pt x="1802" y="1974"/>
                </a:cubicBezTo>
                <a:lnTo>
                  <a:pt x="1802" y="1974"/>
                </a:lnTo>
                <a:cubicBezTo>
                  <a:pt x="1802" y="1975"/>
                  <a:pt x="1803" y="1975"/>
                  <a:pt x="1803" y="1975"/>
                </a:cubicBezTo>
                <a:lnTo>
                  <a:pt x="1803" y="1975"/>
                </a:lnTo>
                <a:cubicBezTo>
                  <a:pt x="1809" y="1978"/>
                  <a:pt x="1813" y="1981"/>
                  <a:pt x="1819" y="1983"/>
                </a:cubicBezTo>
                <a:lnTo>
                  <a:pt x="1819" y="1983"/>
                </a:lnTo>
                <a:cubicBezTo>
                  <a:pt x="1821" y="1984"/>
                  <a:pt x="1822" y="1985"/>
                  <a:pt x="1824" y="1985"/>
                </a:cubicBezTo>
                <a:lnTo>
                  <a:pt x="1824" y="1985"/>
                </a:lnTo>
                <a:cubicBezTo>
                  <a:pt x="1828" y="1988"/>
                  <a:pt x="1832" y="1989"/>
                  <a:pt x="1836" y="1991"/>
                </a:cubicBezTo>
                <a:lnTo>
                  <a:pt x="1836" y="1991"/>
                </a:lnTo>
                <a:cubicBezTo>
                  <a:pt x="1838" y="1993"/>
                  <a:pt x="1840" y="1994"/>
                  <a:pt x="1842" y="1994"/>
                </a:cubicBezTo>
                <a:lnTo>
                  <a:pt x="1842" y="1994"/>
                </a:lnTo>
                <a:cubicBezTo>
                  <a:pt x="1846" y="1996"/>
                  <a:pt x="1850" y="1998"/>
                  <a:pt x="1854" y="1999"/>
                </a:cubicBezTo>
                <a:lnTo>
                  <a:pt x="1854" y="1999"/>
                </a:lnTo>
                <a:cubicBezTo>
                  <a:pt x="1857" y="2001"/>
                  <a:pt x="1859" y="2001"/>
                  <a:pt x="1861" y="2003"/>
                </a:cubicBezTo>
                <a:lnTo>
                  <a:pt x="1861" y="2003"/>
                </a:lnTo>
                <a:cubicBezTo>
                  <a:pt x="1866" y="2004"/>
                  <a:pt x="1870" y="2006"/>
                  <a:pt x="1874" y="2008"/>
                </a:cubicBezTo>
                <a:lnTo>
                  <a:pt x="1874" y="2008"/>
                </a:lnTo>
                <a:cubicBezTo>
                  <a:pt x="1876" y="2009"/>
                  <a:pt x="1878" y="2009"/>
                  <a:pt x="1880" y="2010"/>
                </a:cubicBezTo>
                <a:lnTo>
                  <a:pt x="1880" y="2010"/>
                </a:lnTo>
                <a:cubicBezTo>
                  <a:pt x="1886" y="2013"/>
                  <a:pt x="1893" y="2015"/>
                  <a:pt x="1900" y="2018"/>
                </a:cubicBezTo>
                <a:lnTo>
                  <a:pt x="1900" y="2018"/>
                </a:lnTo>
                <a:cubicBezTo>
                  <a:pt x="1900" y="2018"/>
                  <a:pt x="1901" y="2018"/>
                  <a:pt x="1902" y="2018"/>
                </a:cubicBezTo>
                <a:lnTo>
                  <a:pt x="1902" y="2018"/>
                </a:lnTo>
                <a:cubicBezTo>
                  <a:pt x="1907" y="2021"/>
                  <a:pt x="1914" y="2022"/>
                  <a:pt x="1920" y="2025"/>
                </a:cubicBezTo>
                <a:lnTo>
                  <a:pt x="1920" y="2025"/>
                </a:lnTo>
                <a:cubicBezTo>
                  <a:pt x="1922" y="2025"/>
                  <a:pt x="1924" y="2026"/>
                  <a:pt x="1927" y="2026"/>
                </a:cubicBezTo>
                <a:lnTo>
                  <a:pt x="1927" y="2026"/>
                </a:lnTo>
                <a:cubicBezTo>
                  <a:pt x="1932" y="2028"/>
                  <a:pt x="1936" y="2030"/>
                  <a:pt x="1941" y="2031"/>
                </a:cubicBezTo>
                <a:lnTo>
                  <a:pt x="1941" y="2031"/>
                </a:lnTo>
                <a:cubicBezTo>
                  <a:pt x="1943" y="2032"/>
                  <a:pt x="1946" y="2033"/>
                  <a:pt x="1948" y="2034"/>
                </a:cubicBezTo>
                <a:lnTo>
                  <a:pt x="1948" y="2034"/>
                </a:lnTo>
                <a:cubicBezTo>
                  <a:pt x="1953" y="2035"/>
                  <a:pt x="1958" y="2036"/>
                  <a:pt x="1963" y="2038"/>
                </a:cubicBezTo>
                <a:lnTo>
                  <a:pt x="1963" y="2038"/>
                </a:lnTo>
                <a:cubicBezTo>
                  <a:pt x="1965" y="2039"/>
                  <a:pt x="1968" y="2039"/>
                  <a:pt x="1971" y="2040"/>
                </a:cubicBezTo>
                <a:lnTo>
                  <a:pt x="1971" y="2040"/>
                </a:lnTo>
                <a:cubicBezTo>
                  <a:pt x="1975" y="2042"/>
                  <a:pt x="1981" y="2043"/>
                  <a:pt x="1986" y="2044"/>
                </a:cubicBezTo>
                <a:lnTo>
                  <a:pt x="1986" y="2044"/>
                </a:lnTo>
                <a:cubicBezTo>
                  <a:pt x="1988" y="2045"/>
                  <a:pt x="1991" y="2045"/>
                  <a:pt x="1993" y="2046"/>
                </a:cubicBezTo>
                <a:lnTo>
                  <a:pt x="1993" y="2046"/>
                </a:lnTo>
                <a:cubicBezTo>
                  <a:pt x="2001" y="2048"/>
                  <a:pt x="2008" y="2050"/>
                  <a:pt x="2017" y="2052"/>
                </a:cubicBezTo>
                <a:lnTo>
                  <a:pt x="2017" y="2052"/>
                </a:lnTo>
                <a:cubicBezTo>
                  <a:pt x="2028" y="2054"/>
                  <a:pt x="2039" y="2056"/>
                  <a:pt x="2051" y="2059"/>
                </a:cubicBezTo>
                <a:lnTo>
                  <a:pt x="2038" y="2135"/>
                </a:lnTo>
                <a:lnTo>
                  <a:pt x="2038" y="2135"/>
                </a:lnTo>
                <a:cubicBezTo>
                  <a:pt x="2039" y="2117"/>
                  <a:pt x="2042" y="2099"/>
                  <a:pt x="2045" y="2082"/>
                </a:cubicBezTo>
                <a:lnTo>
                  <a:pt x="2045" y="2082"/>
                </a:lnTo>
                <a:cubicBezTo>
                  <a:pt x="2021" y="2104"/>
                  <a:pt x="1997" y="2127"/>
                  <a:pt x="1974" y="2153"/>
                </a:cubicBezTo>
                <a:lnTo>
                  <a:pt x="1974" y="2153"/>
                </a:lnTo>
                <a:cubicBezTo>
                  <a:pt x="2003" y="2116"/>
                  <a:pt x="2024" y="2094"/>
                  <a:pt x="2028" y="2089"/>
                </a:cubicBezTo>
                <a:lnTo>
                  <a:pt x="2028" y="2089"/>
                </a:lnTo>
                <a:cubicBezTo>
                  <a:pt x="2016" y="2097"/>
                  <a:pt x="1933" y="2086"/>
                  <a:pt x="1836" y="2152"/>
                </a:cubicBezTo>
                <a:lnTo>
                  <a:pt x="1836" y="2152"/>
                </a:lnTo>
                <a:cubicBezTo>
                  <a:pt x="1743" y="2145"/>
                  <a:pt x="1600" y="2138"/>
                  <a:pt x="1491" y="2155"/>
                </a:cubicBezTo>
                <a:lnTo>
                  <a:pt x="1491" y="2155"/>
                </a:lnTo>
                <a:cubicBezTo>
                  <a:pt x="1154" y="2127"/>
                  <a:pt x="503" y="2205"/>
                  <a:pt x="440" y="2096"/>
                </a:cubicBezTo>
                <a:lnTo>
                  <a:pt x="440" y="2096"/>
                </a:lnTo>
                <a:lnTo>
                  <a:pt x="440" y="2095"/>
                </a:lnTo>
                <a:lnTo>
                  <a:pt x="440" y="2095"/>
                </a:lnTo>
                <a:cubicBezTo>
                  <a:pt x="438" y="2093"/>
                  <a:pt x="437" y="2091"/>
                  <a:pt x="437" y="2089"/>
                </a:cubicBezTo>
                <a:lnTo>
                  <a:pt x="521" y="1884"/>
                </a:lnTo>
                <a:lnTo>
                  <a:pt x="521" y="1884"/>
                </a:lnTo>
                <a:lnTo>
                  <a:pt x="809" y="1180"/>
                </a:lnTo>
                <a:lnTo>
                  <a:pt x="809" y="1180"/>
                </a:lnTo>
                <a:cubicBezTo>
                  <a:pt x="797" y="1135"/>
                  <a:pt x="775" y="1098"/>
                  <a:pt x="748" y="1067"/>
                </a:cubicBezTo>
                <a:lnTo>
                  <a:pt x="763" y="1038"/>
                </a:lnTo>
                <a:lnTo>
                  <a:pt x="763" y="1038"/>
                </a:lnTo>
                <a:cubicBezTo>
                  <a:pt x="755" y="1027"/>
                  <a:pt x="746" y="1017"/>
                  <a:pt x="737" y="1007"/>
                </a:cubicBezTo>
                <a:lnTo>
                  <a:pt x="739" y="1002"/>
                </a:lnTo>
                <a:lnTo>
                  <a:pt x="739" y="1002"/>
                </a:lnTo>
                <a:cubicBezTo>
                  <a:pt x="739" y="1002"/>
                  <a:pt x="926" y="1014"/>
                  <a:pt x="982" y="904"/>
                </a:cubicBezTo>
                <a:lnTo>
                  <a:pt x="982" y="904"/>
                </a:lnTo>
                <a:cubicBezTo>
                  <a:pt x="999" y="869"/>
                  <a:pt x="1011" y="830"/>
                  <a:pt x="1031" y="797"/>
                </a:cubicBezTo>
                <a:lnTo>
                  <a:pt x="1031" y="797"/>
                </a:lnTo>
                <a:cubicBezTo>
                  <a:pt x="1043" y="778"/>
                  <a:pt x="1064" y="760"/>
                  <a:pt x="1057" y="738"/>
                </a:cubicBezTo>
                <a:lnTo>
                  <a:pt x="1057" y="738"/>
                </a:lnTo>
                <a:cubicBezTo>
                  <a:pt x="1051" y="713"/>
                  <a:pt x="1023" y="708"/>
                  <a:pt x="999" y="714"/>
                </a:cubicBezTo>
                <a:lnTo>
                  <a:pt x="999" y="714"/>
                </a:lnTo>
                <a:cubicBezTo>
                  <a:pt x="1004" y="710"/>
                  <a:pt x="1008" y="708"/>
                  <a:pt x="1009" y="707"/>
                </a:cubicBezTo>
                <a:lnTo>
                  <a:pt x="1009" y="707"/>
                </a:lnTo>
                <a:cubicBezTo>
                  <a:pt x="1006" y="708"/>
                  <a:pt x="993" y="707"/>
                  <a:pt x="975" y="712"/>
                </a:cubicBezTo>
                <a:lnTo>
                  <a:pt x="975" y="712"/>
                </a:lnTo>
                <a:cubicBezTo>
                  <a:pt x="975" y="711"/>
                  <a:pt x="975" y="710"/>
                  <a:pt x="975" y="710"/>
                </a:cubicBezTo>
                <a:lnTo>
                  <a:pt x="975" y="710"/>
                </a:lnTo>
                <a:cubicBezTo>
                  <a:pt x="975" y="709"/>
                  <a:pt x="975" y="708"/>
                  <a:pt x="975" y="707"/>
                </a:cubicBezTo>
                <a:lnTo>
                  <a:pt x="975" y="707"/>
                </a:lnTo>
                <a:cubicBezTo>
                  <a:pt x="975" y="706"/>
                  <a:pt x="976" y="705"/>
                  <a:pt x="976" y="704"/>
                </a:cubicBezTo>
                <a:lnTo>
                  <a:pt x="976" y="704"/>
                </a:lnTo>
                <a:cubicBezTo>
                  <a:pt x="976" y="703"/>
                  <a:pt x="976" y="702"/>
                  <a:pt x="976" y="701"/>
                </a:cubicBezTo>
                <a:lnTo>
                  <a:pt x="976" y="701"/>
                </a:lnTo>
                <a:cubicBezTo>
                  <a:pt x="976" y="700"/>
                  <a:pt x="976" y="699"/>
                  <a:pt x="976" y="698"/>
                </a:cubicBezTo>
                <a:lnTo>
                  <a:pt x="976" y="698"/>
                </a:lnTo>
                <a:cubicBezTo>
                  <a:pt x="982" y="640"/>
                  <a:pt x="970" y="536"/>
                  <a:pt x="915" y="538"/>
                </a:cubicBezTo>
                <a:lnTo>
                  <a:pt x="915" y="538"/>
                </a:lnTo>
                <a:lnTo>
                  <a:pt x="915" y="538"/>
                </a:lnTo>
                <a:lnTo>
                  <a:pt x="915" y="538"/>
                </a:lnTo>
                <a:cubicBezTo>
                  <a:pt x="926" y="535"/>
                  <a:pt x="932" y="535"/>
                  <a:pt x="932" y="535"/>
                </a:cubicBezTo>
                <a:lnTo>
                  <a:pt x="932" y="535"/>
                </a:lnTo>
                <a:cubicBezTo>
                  <a:pt x="932" y="535"/>
                  <a:pt x="926" y="534"/>
                  <a:pt x="915" y="535"/>
                </a:cubicBezTo>
                <a:lnTo>
                  <a:pt x="915" y="535"/>
                </a:lnTo>
                <a:cubicBezTo>
                  <a:pt x="907" y="535"/>
                  <a:pt x="897" y="538"/>
                  <a:pt x="887" y="542"/>
                </a:cubicBezTo>
                <a:lnTo>
                  <a:pt x="887" y="542"/>
                </a:lnTo>
                <a:cubicBezTo>
                  <a:pt x="865" y="509"/>
                  <a:pt x="827" y="488"/>
                  <a:pt x="787" y="487"/>
                </a:cubicBezTo>
                <a:lnTo>
                  <a:pt x="787" y="487"/>
                </a:lnTo>
                <a:cubicBezTo>
                  <a:pt x="787" y="487"/>
                  <a:pt x="787" y="487"/>
                  <a:pt x="786" y="487"/>
                </a:cubicBezTo>
                <a:lnTo>
                  <a:pt x="786" y="487"/>
                </a:lnTo>
                <a:cubicBezTo>
                  <a:pt x="783" y="487"/>
                  <a:pt x="780" y="487"/>
                  <a:pt x="776" y="487"/>
                </a:cubicBezTo>
                <a:lnTo>
                  <a:pt x="776" y="487"/>
                </a:lnTo>
                <a:lnTo>
                  <a:pt x="774" y="488"/>
                </a:lnTo>
                <a:lnTo>
                  <a:pt x="774" y="488"/>
                </a:lnTo>
                <a:cubicBezTo>
                  <a:pt x="770" y="488"/>
                  <a:pt x="766" y="488"/>
                  <a:pt x="763" y="489"/>
                </a:cubicBezTo>
                <a:lnTo>
                  <a:pt x="763" y="489"/>
                </a:lnTo>
                <a:cubicBezTo>
                  <a:pt x="762" y="489"/>
                  <a:pt x="761" y="489"/>
                  <a:pt x="761" y="489"/>
                </a:cubicBezTo>
                <a:lnTo>
                  <a:pt x="761" y="489"/>
                </a:lnTo>
                <a:lnTo>
                  <a:pt x="761" y="489"/>
                </a:lnTo>
                <a:lnTo>
                  <a:pt x="761" y="489"/>
                </a:lnTo>
                <a:lnTo>
                  <a:pt x="761" y="489"/>
                </a:lnTo>
                <a:lnTo>
                  <a:pt x="761" y="489"/>
                </a:lnTo>
                <a:cubicBezTo>
                  <a:pt x="755" y="491"/>
                  <a:pt x="749" y="492"/>
                  <a:pt x="743" y="492"/>
                </a:cubicBezTo>
                <a:lnTo>
                  <a:pt x="743" y="492"/>
                </a:lnTo>
                <a:cubicBezTo>
                  <a:pt x="736" y="491"/>
                  <a:pt x="729" y="488"/>
                  <a:pt x="721" y="485"/>
                </a:cubicBezTo>
                <a:lnTo>
                  <a:pt x="721" y="485"/>
                </a:lnTo>
                <a:cubicBezTo>
                  <a:pt x="698" y="478"/>
                  <a:pt x="672" y="483"/>
                  <a:pt x="653" y="497"/>
                </a:cubicBezTo>
                <a:lnTo>
                  <a:pt x="653" y="497"/>
                </a:lnTo>
                <a:cubicBezTo>
                  <a:pt x="653" y="498"/>
                  <a:pt x="652" y="498"/>
                  <a:pt x="651" y="498"/>
                </a:cubicBezTo>
                <a:lnTo>
                  <a:pt x="651" y="498"/>
                </a:lnTo>
                <a:cubicBezTo>
                  <a:pt x="647" y="499"/>
                  <a:pt x="639" y="495"/>
                  <a:pt x="635" y="495"/>
                </a:cubicBezTo>
                <a:lnTo>
                  <a:pt x="635" y="495"/>
                </a:lnTo>
                <a:cubicBezTo>
                  <a:pt x="635" y="495"/>
                  <a:pt x="635" y="495"/>
                  <a:pt x="634" y="495"/>
                </a:cubicBezTo>
                <a:lnTo>
                  <a:pt x="634" y="495"/>
                </a:lnTo>
                <a:cubicBezTo>
                  <a:pt x="558" y="502"/>
                  <a:pt x="526" y="597"/>
                  <a:pt x="511" y="659"/>
                </a:cubicBezTo>
                <a:lnTo>
                  <a:pt x="511" y="659"/>
                </a:lnTo>
                <a:cubicBezTo>
                  <a:pt x="508" y="675"/>
                  <a:pt x="504" y="694"/>
                  <a:pt x="501" y="714"/>
                </a:cubicBezTo>
                <a:lnTo>
                  <a:pt x="501" y="714"/>
                </a:lnTo>
                <a:cubicBezTo>
                  <a:pt x="498" y="733"/>
                  <a:pt x="496" y="754"/>
                  <a:pt x="496" y="775"/>
                </a:cubicBezTo>
                <a:lnTo>
                  <a:pt x="496" y="775"/>
                </a:lnTo>
                <a:cubicBezTo>
                  <a:pt x="495" y="800"/>
                  <a:pt x="497" y="825"/>
                  <a:pt x="504" y="848"/>
                </a:cubicBezTo>
                <a:lnTo>
                  <a:pt x="504" y="848"/>
                </a:lnTo>
                <a:cubicBezTo>
                  <a:pt x="502" y="848"/>
                  <a:pt x="502" y="847"/>
                  <a:pt x="502" y="847"/>
                </a:cubicBezTo>
                <a:lnTo>
                  <a:pt x="502" y="847"/>
                </a:lnTo>
                <a:cubicBezTo>
                  <a:pt x="493" y="853"/>
                  <a:pt x="473" y="895"/>
                  <a:pt x="457" y="927"/>
                </a:cubicBezTo>
                <a:lnTo>
                  <a:pt x="457" y="927"/>
                </a:lnTo>
                <a:cubicBezTo>
                  <a:pt x="423" y="921"/>
                  <a:pt x="400" y="920"/>
                  <a:pt x="397" y="920"/>
                </a:cubicBezTo>
                <a:lnTo>
                  <a:pt x="397" y="920"/>
                </a:lnTo>
                <a:lnTo>
                  <a:pt x="397" y="920"/>
                </a:lnTo>
                <a:lnTo>
                  <a:pt x="397" y="920"/>
                </a:lnTo>
                <a:lnTo>
                  <a:pt x="397" y="920"/>
                </a:lnTo>
                <a:cubicBezTo>
                  <a:pt x="397" y="920"/>
                  <a:pt x="0" y="1730"/>
                  <a:pt x="3" y="2170"/>
                </a:cubicBezTo>
                <a:lnTo>
                  <a:pt x="3" y="2170"/>
                </a:lnTo>
                <a:cubicBezTo>
                  <a:pt x="3" y="2188"/>
                  <a:pt x="4" y="2205"/>
                  <a:pt x="5" y="2222"/>
                </a:cubicBezTo>
                <a:lnTo>
                  <a:pt x="5" y="2222"/>
                </a:lnTo>
                <a:cubicBezTo>
                  <a:pt x="8" y="2256"/>
                  <a:pt x="14" y="2286"/>
                  <a:pt x="24" y="2314"/>
                </a:cubicBezTo>
                <a:lnTo>
                  <a:pt x="24" y="2314"/>
                </a:lnTo>
                <a:cubicBezTo>
                  <a:pt x="29" y="2328"/>
                  <a:pt x="34" y="2341"/>
                  <a:pt x="41" y="2354"/>
                </a:cubicBezTo>
                <a:lnTo>
                  <a:pt x="41" y="2354"/>
                </a:lnTo>
                <a:cubicBezTo>
                  <a:pt x="44" y="2359"/>
                  <a:pt x="47" y="2364"/>
                  <a:pt x="50" y="2369"/>
                </a:cubicBezTo>
                <a:lnTo>
                  <a:pt x="50" y="2369"/>
                </a:lnTo>
                <a:cubicBezTo>
                  <a:pt x="223" y="2623"/>
                  <a:pt x="927" y="2788"/>
                  <a:pt x="1306" y="2701"/>
                </a:cubicBezTo>
                <a:lnTo>
                  <a:pt x="1306" y="2701"/>
                </a:lnTo>
                <a:cubicBezTo>
                  <a:pt x="1308" y="2714"/>
                  <a:pt x="1309" y="2721"/>
                  <a:pt x="1309" y="2721"/>
                </a:cubicBezTo>
                <a:lnTo>
                  <a:pt x="1309" y="2721"/>
                </a:lnTo>
                <a:cubicBezTo>
                  <a:pt x="1309" y="2721"/>
                  <a:pt x="1309" y="2713"/>
                  <a:pt x="1309" y="2700"/>
                </a:cubicBezTo>
                <a:lnTo>
                  <a:pt x="1309" y="2700"/>
                </a:lnTo>
                <a:cubicBezTo>
                  <a:pt x="1311" y="2700"/>
                  <a:pt x="1312" y="2699"/>
                  <a:pt x="1314" y="2699"/>
                </a:cubicBezTo>
                <a:lnTo>
                  <a:pt x="1314" y="2699"/>
                </a:lnTo>
                <a:cubicBezTo>
                  <a:pt x="1315" y="2713"/>
                  <a:pt x="1316" y="2728"/>
                  <a:pt x="1317" y="2743"/>
                </a:cubicBezTo>
                <a:lnTo>
                  <a:pt x="1317" y="2743"/>
                </a:lnTo>
                <a:cubicBezTo>
                  <a:pt x="1336" y="3061"/>
                  <a:pt x="1348" y="3345"/>
                  <a:pt x="1345" y="3665"/>
                </a:cubicBezTo>
                <a:lnTo>
                  <a:pt x="1345" y="3665"/>
                </a:lnTo>
                <a:cubicBezTo>
                  <a:pt x="1345" y="3790"/>
                  <a:pt x="1345" y="3931"/>
                  <a:pt x="1339" y="4066"/>
                </a:cubicBezTo>
                <a:lnTo>
                  <a:pt x="1339" y="4065"/>
                </a:lnTo>
                <a:lnTo>
                  <a:pt x="1339" y="4065"/>
                </a:lnTo>
                <a:cubicBezTo>
                  <a:pt x="1337" y="4114"/>
                  <a:pt x="1335" y="4161"/>
                  <a:pt x="1331" y="4207"/>
                </a:cubicBezTo>
                <a:lnTo>
                  <a:pt x="1331" y="4207"/>
                </a:lnTo>
                <a:cubicBezTo>
                  <a:pt x="1330" y="4210"/>
                  <a:pt x="1330" y="4212"/>
                  <a:pt x="1330" y="4214"/>
                </a:cubicBezTo>
                <a:lnTo>
                  <a:pt x="1330" y="4214"/>
                </a:lnTo>
                <a:cubicBezTo>
                  <a:pt x="1329" y="4229"/>
                  <a:pt x="1328" y="4244"/>
                  <a:pt x="1327" y="4258"/>
                </a:cubicBezTo>
                <a:lnTo>
                  <a:pt x="1327" y="4258"/>
                </a:lnTo>
                <a:cubicBezTo>
                  <a:pt x="1318" y="4336"/>
                  <a:pt x="1310" y="4415"/>
                  <a:pt x="1300" y="4493"/>
                </a:cubicBezTo>
                <a:lnTo>
                  <a:pt x="1300" y="4493"/>
                </a:lnTo>
                <a:cubicBezTo>
                  <a:pt x="1299" y="4496"/>
                  <a:pt x="1299" y="4500"/>
                  <a:pt x="1298" y="4504"/>
                </a:cubicBezTo>
                <a:lnTo>
                  <a:pt x="1298" y="4504"/>
                </a:lnTo>
                <a:cubicBezTo>
                  <a:pt x="1291" y="4546"/>
                  <a:pt x="1271" y="4610"/>
                  <a:pt x="1270" y="4661"/>
                </a:cubicBezTo>
                <a:lnTo>
                  <a:pt x="1270" y="4661"/>
                </a:lnTo>
                <a:cubicBezTo>
                  <a:pt x="1269" y="4679"/>
                  <a:pt x="1272" y="4697"/>
                  <a:pt x="1278" y="4709"/>
                </a:cubicBezTo>
                <a:lnTo>
                  <a:pt x="1278" y="4709"/>
                </a:lnTo>
                <a:cubicBezTo>
                  <a:pt x="1283" y="4721"/>
                  <a:pt x="1291" y="4731"/>
                  <a:pt x="1301" y="4740"/>
                </a:cubicBezTo>
                <a:lnTo>
                  <a:pt x="1301" y="4740"/>
                </a:lnTo>
                <a:cubicBezTo>
                  <a:pt x="1156" y="4927"/>
                  <a:pt x="1009" y="5160"/>
                  <a:pt x="948" y="5401"/>
                </a:cubicBezTo>
                <a:lnTo>
                  <a:pt x="948" y="5401"/>
                </a:lnTo>
                <a:cubicBezTo>
                  <a:pt x="857" y="5760"/>
                  <a:pt x="1024" y="6137"/>
                  <a:pt x="1309" y="6393"/>
                </a:cubicBezTo>
                <a:lnTo>
                  <a:pt x="1309" y="6393"/>
                </a:lnTo>
                <a:cubicBezTo>
                  <a:pt x="1309" y="6393"/>
                  <a:pt x="1309" y="6393"/>
                  <a:pt x="1310" y="6393"/>
                </a:cubicBezTo>
                <a:lnTo>
                  <a:pt x="1310" y="6393"/>
                </a:lnTo>
                <a:cubicBezTo>
                  <a:pt x="1316" y="6399"/>
                  <a:pt x="1322" y="6404"/>
                  <a:pt x="1328" y="6409"/>
                </a:cubicBezTo>
                <a:lnTo>
                  <a:pt x="1328" y="6409"/>
                </a:lnTo>
                <a:lnTo>
                  <a:pt x="1329" y="6410"/>
                </a:lnTo>
                <a:lnTo>
                  <a:pt x="1329" y="6410"/>
                </a:lnTo>
                <a:cubicBezTo>
                  <a:pt x="1335" y="6415"/>
                  <a:pt x="1340" y="6420"/>
                  <a:pt x="1347" y="6425"/>
                </a:cubicBezTo>
                <a:lnTo>
                  <a:pt x="1347" y="6425"/>
                </a:lnTo>
                <a:cubicBezTo>
                  <a:pt x="1347" y="6426"/>
                  <a:pt x="1348" y="6426"/>
                  <a:pt x="1348" y="6426"/>
                </a:cubicBezTo>
                <a:lnTo>
                  <a:pt x="1348" y="6426"/>
                </a:lnTo>
                <a:cubicBezTo>
                  <a:pt x="1354" y="6431"/>
                  <a:pt x="1360" y="6436"/>
                  <a:pt x="1367" y="6441"/>
                </a:cubicBezTo>
                <a:lnTo>
                  <a:pt x="1367" y="6441"/>
                </a:lnTo>
                <a:lnTo>
                  <a:pt x="1367" y="6441"/>
                </a:lnTo>
                <a:lnTo>
                  <a:pt x="1367" y="6441"/>
                </a:lnTo>
                <a:cubicBezTo>
                  <a:pt x="1392" y="6461"/>
                  <a:pt x="1417" y="6480"/>
                  <a:pt x="1443" y="6498"/>
                </a:cubicBezTo>
                <a:lnTo>
                  <a:pt x="1443" y="6498"/>
                </a:lnTo>
                <a:cubicBezTo>
                  <a:pt x="1445" y="6499"/>
                  <a:pt x="1446" y="6500"/>
                  <a:pt x="1448" y="6500"/>
                </a:cubicBezTo>
                <a:lnTo>
                  <a:pt x="1448" y="6500"/>
                </a:lnTo>
                <a:cubicBezTo>
                  <a:pt x="1452" y="6504"/>
                  <a:pt x="1458" y="6507"/>
                  <a:pt x="1462" y="6510"/>
                </a:cubicBezTo>
                <a:lnTo>
                  <a:pt x="1462" y="6510"/>
                </a:lnTo>
                <a:cubicBezTo>
                  <a:pt x="1465" y="6512"/>
                  <a:pt x="1467" y="6514"/>
                  <a:pt x="1470" y="6515"/>
                </a:cubicBezTo>
                <a:lnTo>
                  <a:pt x="1470" y="6515"/>
                </a:lnTo>
                <a:cubicBezTo>
                  <a:pt x="1474" y="6518"/>
                  <a:pt x="1479" y="6521"/>
                  <a:pt x="1483" y="6524"/>
                </a:cubicBezTo>
                <a:lnTo>
                  <a:pt x="1483" y="6524"/>
                </a:lnTo>
                <a:cubicBezTo>
                  <a:pt x="1486" y="6525"/>
                  <a:pt x="1489" y="6527"/>
                  <a:pt x="1492" y="6529"/>
                </a:cubicBezTo>
                <a:lnTo>
                  <a:pt x="1492" y="6529"/>
                </a:lnTo>
                <a:cubicBezTo>
                  <a:pt x="1496" y="6532"/>
                  <a:pt x="1501" y="6534"/>
                  <a:pt x="1505" y="6537"/>
                </a:cubicBezTo>
                <a:lnTo>
                  <a:pt x="1505" y="6537"/>
                </a:lnTo>
                <a:cubicBezTo>
                  <a:pt x="1509" y="6539"/>
                  <a:pt x="1511" y="6541"/>
                  <a:pt x="1514" y="6543"/>
                </a:cubicBezTo>
                <a:lnTo>
                  <a:pt x="1514" y="6543"/>
                </a:lnTo>
                <a:cubicBezTo>
                  <a:pt x="1519" y="6545"/>
                  <a:pt x="1523" y="6548"/>
                  <a:pt x="1527" y="6550"/>
                </a:cubicBezTo>
                <a:lnTo>
                  <a:pt x="1527" y="6550"/>
                </a:lnTo>
                <a:cubicBezTo>
                  <a:pt x="1531" y="6552"/>
                  <a:pt x="1534" y="6554"/>
                  <a:pt x="1538" y="6556"/>
                </a:cubicBezTo>
                <a:lnTo>
                  <a:pt x="1538" y="6556"/>
                </a:lnTo>
                <a:cubicBezTo>
                  <a:pt x="1542" y="6558"/>
                  <a:pt x="1546" y="6561"/>
                  <a:pt x="1550" y="6563"/>
                </a:cubicBezTo>
                <a:lnTo>
                  <a:pt x="1550" y="6563"/>
                </a:lnTo>
                <a:cubicBezTo>
                  <a:pt x="1554" y="6565"/>
                  <a:pt x="1557" y="6566"/>
                  <a:pt x="1561" y="6569"/>
                </a:cubicBezTo>
                <a:lnTo>
                  <a:pt x="1561" y="6569"/>
                </a:lnTo>
                <a:cubicBezTo>
                  <a:pt x="1565" y="6571"/>
                  <a:pt x="1569" y="6573"/>
                  <a:pt x="1573" y="6575"/>
                </a:cubicBezTo>
                <a:lnTo>
                  <a:pt x="1573" y="6575"/>
                </a:lnTo>
                <a:cubicBezTo>
                  <a:pt x="1577" y="6577"/>
                  <a:pt x="1581" y="6580"/>
                  <a:pt x="1585" y="6581"/>
                </a:cubicBezTo>
                <a:lnTo>
                  <a:pt x="1585" y="6581"/>
                </a:lnTo>
                <a:cubicBezTo>
                  <a:pt x="1589" y="6583"/>
                  <a:pt x="1592" y="6585"/>
                  <a:pt x="1597" y="6587"/>
                </a:cubicBezTo>
                <a:lnTo>
                  <a:pt x="1597" y="6587"/>
                </a:lnTo>
                <a:cubicBezTo>
                  <a:pt x="1602" y="6590"/>
                  <a:pt x="1607" y="6592"/>
                  <a:pt x="1612" y="6594"/>
                </a:cubicBezTo>
                <a:lnTo>
                  <a:pt x="1612" y="6594"/>
                </a:lnTo>
                <a:cubicBezTo>
                  <a:pt x="1617" y="6596"/>
                  <a:pt x="1621" y="6598"/>
                  <a:pt x="1625" y="6601"/>
                </a:cubicBezTo>
                <a:lnTo>
                  <a:pt x="1625" y="6601"/>
                </a:lnTo>
                <a:cubicBezTo>
                  <a:pt x="1631" y="6603"/>
                  <a:pt x="1637" y="6606"/>
                  <a:pt x="1644" y="6609"/>
                </a:cubicBezTo>
                <a:lnTo>
                  <a:pt x="1644" y="6609"/>
                </a:lnTo>
                <a:cubicBezTo>
                  <a:pt x="1647" y="6610"/>
                  <a:pt x="1650" y="6612"/>
                  <a:pt x="1653" y="6613"/>
                </a:cubicBezTo>
                <a:lnTo>
                  <a:pt x="1653" y="6613"/>
                </a:lnTo>
                <a:cubicBezTo>
                  <a:pt x="1658" y="6615"/>
                  <a:pt x="1663" y="6617"/>
                  <a:pt x="1668" y="6619"/>
                </a:cubicBezTo>
                <a:lnTo>
                  <a:pt x="1668" y="6619"/>
                </a:lnTo>
                <a:cubicBezTo>
                  <a:pt x="1671" y="6621"/>
                  <a:pt x="1675" y="6622"/>
                  <a:pt x="1678" y="6624"/>
                </a:cubicBezTo>
                <a:lnTo>
                  <a:pt x="1678" y="6624"/>
                </a:lnTo>
                <a:cubicBezTo>
                  <a:pt x="1683" y="6625"/>
                  <a:pt x="1688" y="6627"/>
                  <a:pt x="1692" y="6629"/>
                </a:cubicBezTo>
                <a:lnTo>
                  <a:pt x="1692" y="6629"/>
                </a:lnTo>
                <a:cubicBezTo>
                  <a:pt x="1696" y="6630"/>
                  <a:pt x="1700" y="6632"/>
                  <a:pt x="1703" y="6633"/>
                </a:cubicBezTo>
                <a:lnTo>
                  <a:pt x="1703" y="6633"/>
                </a:lnTo>
                <a:cubicBezTo>
                  <a:pt x="1708" y="6635"/>
                  <a:pt x="1712" y="6636"/>
                  <a:pt x="1717" y="6638"/>
                </a:cubicBezTo>
                <a:lnTo>
                  <a:pt x="1717" y="6638"/>
                </a:lnTo>
                <a:cubicBezTo>
                  <a:pt x="1721" y="6639"/>
                  <a:pt x="1725" y="6641"/>
                  <a:pt x="1728" y="6642"/>
                </a:cubicBezTo>
                <a:lnTo>
                  <a:pt x="1728" y="6642"/>
                </a:lnTo>
                <a:cubicBezTo>
                  <a:pt x="1733" y="6644"/>
                  <a:pt x="1738" y="6645"/>
                  <a:pt x="1742" y="6647"/>
                </a:cubicBezTo>
                <a:lnTo>
                  <a:pt x="1742" y="6647"/>
                </a:lnTo>
                <a:cubicBezTo>
                  <a:pt x="1746" y="6648"/>
                  <a:pt x="1749" y="6649"/>
                  <a:pt x="1753" y="6651"/>
                </a:cubicBezTo>
                <a:lnTo>
                  <a:pt x="1753" y="6651"/>
                </a:lnTo>
                <a:cubicBezTo>
                  <a:pt x="1758" y="6652"/>
                  <a:pt x="1763" y="6654"/>
                  <a:pt x="1768" y="6655"/>
                </a:cubicBezTo>
                <a:lnTo>
                  <a:pt x="1768" y="6655"/>
                </a:lnTo>
                <a:cubicBezTo>
                  <a:pt x="1771" y="6656"/>
                  <a:pt x="1775" y="6657"/>
                  <a:pt x="1778" y="6658"/>
                </a:cubicBezTo>
                <a:lnTo>
                  <a:pt x="1778" y="6658"/>
                </a:lnTo>
                <a:cubicBezTo>
                  <a:pt x="1783" y="6660"/>
                  <a:pt x="1788" y="6661"/>
                  <a:pt x="1793" y="6662"/>
                </a:cubicBezTo>
                <a:lnTo>
                  <a:pt x="1793" y="6662"/>
                </a:lnTo>
                <a:cubicBezTo>
                  <a:pt x="1797" y="6664"/>
                  <a:pt x="1800" y="6665"/>
                  <a:pt x="1803" y="6665"/>
                </a:cubicBezTo>
                <a:lnTo>
                  <a:pt x="1803" y="6665"/>
                </a:lnTo>
                <a:cubicBezTo>
                  <a:pt x="1809" y="6667"/>
                  <a:pt x="1814" y="6668"/>
                  <a:pt x="1821" y="6670"/>
                </a:cubicBezTo>
                <a:lnTo>
                  <a:pt x="1821" y="6670"/>
                </a:lnTo>
                <a:cubicBezTo>
                  <a:pt x="1823" y="6671"/>
                  <a:pt x="1826" y="6671"/>
                  <a:pt x="1829" y="6672"/>
                </a:cubicBezTo>
                <a:lnTo>
                  <a:pt x="1829" y="6672"/>
                </a:lnTo>
                <a:cubicBezTo>
                  <a:pt x="1837" y="6674"/>
                  <a:pt x="1846" y="6676"/>
                  <a:pt x="1854" y="6678"/>
                </a:cubicBezTo>
                <a:lnTo>
                  <a:pt x="1854" y="6678"/>
                </a:lnTo>
                <a:cubicBezTo>
                  <a:pt x="2150" y="6743"/>
                  <a:pt x="2326" y="6729"/>
                  <a:pt x="2427" y="6699"/>
                </a:cubicBezTo>
                <a:lnTo>
                  <a:pt x="2427" y="6699"/>
                </a:lnTo>
                <a:cubicBezTo>
                  <a:pt x="2385" y="6810"/>
                  <a:pt x="2311" y="7040"/>
                  <a:pt x="2360" y="7176"/>
                </a:cubicBezTo>
                <a:lnTo>
                  <a:pt x="2360" y="7176"/>
                </a:lnTo>
                <a:cubicBezTo>
                  <a:pt x="2360" y="7177"/>
                  <a:pt x="2361" y="7178"/>
                  <a:pt x="2361" y="7179"/>
                </a:cubicBezTo>
                <a:lnTo>
                  <a:pt x="2361" y="7179"/>
                </a:lnTo>
                <a:cubicBezTo>
                  <a:pt x="2362" y="7183"/>
                  <a:pt x="2364" y="7187"/>
                  <a:pt x="2366" y="7191"/>
                </a:cubicBezTo>
                <a:lnTo>
                  <a:pt x="2367" y="7192"/>
                </a:lnTo>
                <a:lnTo>
                  <a:pt x="2367" y="7192"/>
                </a:lnTo>
                <a:cubicBezTo>
                  <a:pt x="2380" y="7222"/>
                  <a:pt x="2401" y="7247"/>
                  <a:pt x="2431" y="7263"/>
                </a:cubicBezTo>
                <a:lnTo>
                  <a:pt x="2431" y="7263"/>
                </a:lnTo>
                <a:cubicBezTo>
                  <a:pt x="2448" y="7272"/>
                  <a:pt x="2463" y="7274"/>
                  <a:pt x="2478" y="7271"/>
                </a:cubicBezTo>
                <a:lnTo>
                  <a:pt x="2478" y="7271"/>
                </a:lnTo>
                <a:lnTo>
                  <a:pt x="2478" y="7271"/>
                </a:lnTo>
                <a:lnTo>
                  <a:pt x="2478" y="7271"/>
                </a:lnTo>
                <a:cubicBezTo>
                  <a:pt x="2481" y="7270"/>
                  <a:pt x="2484" y="7269"/>
                  <a:pt x="2487" y="7268"/>
                </a:cubicBezTo>
                <a:lnTo>
                  <a:pt x="2487" y="7268"/>
                </a:lnTo>
                <a:cubicBezTo>
                  <a:pt x="2488" y="7268"/>
                  <a:pt x="2488" y="7267"/>
                  <a:pt x="2488" y="7267"/>
                </a:cubicBezTo>
                <a:lnTo>
                  <a:pt x="2488" y="7267"/>
                </a:lnTo>
                <a:cubicBezTo>
                  <a:pt x="2491" y="7266"/>
                  <a:pt x="2493" y="7265"/>
                  <a:pt x="2496" y="7264"/>
                </a:cubicBezTo>
                <a:lnTo>
                  <a:pt x="2496" y="7264"/>
                </a:lnTo>
                <a:cubicBezTo>
                  <a:pt x="2496" y="7263"/>
                  <a:pt x="2497" y="7263"/>
                  <a:pt x="2498" y="7262"/>
                </a:cubicBezTo>
                <a:lnTo>
                  <a:pt x="2498" y="7262"/>
                </a:lnTo>
                <a:cubicBezTo>
                  <a:pt x="2500" y="7261"/>
                  <a:pt x="2502" y="7259"/>
                  <a:pt x="2504" y="7257"/>
                </a:cubicBezTo>
                <a:lnTo>
                  <a:pt x="2504" y="7257"/>
                </a:lnTo>
                <a:cubicBezTo>
                  <a:pt x="2505" y="7257"/>
                  <a:pt x="2505" y="7257"/>
                  <a:pt x="2506" y="7256"/>
                </a:cubicBezTo>
                <a:lnTo>
                  <a:pt x="2506" y="7256"/>
                </a:lnTo>
                <a:cubicBezTo>
                  <a:pt x="2508" y="7254"/>
                  <a:pt x="2511" y="7252"/>
                  <a:pt x="2513" y="7250"/>
                </a:cubicBezTo>
                <a:lnTo>
                  <a:pt x="2513" y="7250"/>
                </a:lnTo>
                <a:cubicBezTo>
                  <a:pt x="2513" y="7249"/>
                  <a:pt x="2513" y="7249"/>
                  <a:pt x="2514" y="7249"/>
                </a:cubicBezTo>
                <a:lnTo>
                  <a:pt x="2514" y="7249"/>
                </a:lnTo>
                <a:cubicBezTo>
                  <a:pt x="2604" y="7153"/>
                  <a:pt x="2637" y="6799"/>
                  <a:pt x="2649" y="6596"/>
                </a:cubicBezTo>
                <a:lnTo>
                  <a:pt x="2649" y="6596"/>
                </a:lnTo>
                <a:cubicBezTo>
                  <a:pt x="3074" y="6646"/>
                  <a:pt x="3409" y="6235"/>
                  <a:pt x="3409" y="6235"/>
                </a:cubicBezTo>
                <a:lnTo>
                  <a:pt x="3409" y="6235"/>
                </a:lnTo>
                <a:cubicBezTo>
                  <a:pt x="3409" y="6235"/>
                  <a:pt x="3409" y="6192"/>
                  <a:pt x="3393" y="6141"/>
                </a:cubicBezTo>
                <a:lnTo>
                  <a:pt x="3421" y="6164"/>
                </a:lnTo>
                <a:lnTo>
                  <a:pt x="3421" y="6164"/>
                </a:lnTo>
                <a:cubicBezTo>
                  <a:pt x="3421" y="6164"/>
                  <a:pt x="3567" y="6524"/>
                  <a:pt x="3746" y="6604"/>
                </a:cubicBezTo>
                <a:lnTo>
                  <a:pt x="3746" y="6604"/>
                </a:lnTo>
                <a:cubicBezTo>
                  <a:pt x="3747" y="6604"/>
                  <a:pt x="3748" y="6604"/>
                  <a:pt x="3749" y="6605"/>
                </a:cubicBezTo>
                <a:lnTo>
                  <a:pt x="3749" y="6605"/>
                </a:lnTo>
                <a:cubicBezTo>
                  <a:pt x="3753" y="6606"/>
                  <a:pt x="3757" y="6608"/>
                  <a:pt x="3761" y="6609"/>
                </a:cubicBezTo>
                <a:lnTo>
                  <a:pt x="3761" y="6609"/>
                </a:lnTo>
                <a:cubicBezTo>
                  <a:pt x="3761" y="6609"/>
                  <a:pt x="3761" y="6609"/>
                  <a:pt x="3762" y="6609"/>
                </a:cubicBezTo>
                <a:lnTo>
                  <a:pt x="3762" y="6609"/>
                </a:lnTo>
                <a:cubicBezTo>
                  <a:pt x="3793" y="6621"/>
                  <a:pt x="3826" y="6622"/>
                  <a:pt x="3858" y="6612"/>
                </a:cubicBezTo>
                <a:lnTo>
                  <a:pt x="3858" y="6612"/>
                </a:lnTo>
                <a:cubicBezTo>
                  <a:pt x="3861" y="6611"/>
                  <a:pt x="3864" y="6610"/>
                  <a:pt x="3868" y="6609"/>
                </a:cubicBezTo>
                <a:lnTo>
                  <a:pt x="3868" y="6609"/>
                </a:lnTo>
                <a:cubicBezTo>
                  <a:pt x="3870" y="6608"/>
                  <a:pt x="3872" y="6606"/>
                  <a:pt x="3874" y="6605"/>
                </a:cubicBezTo>
                <a:lnTo>
                  <a:pt x="3874" y="6605"/>
                </a:lnTo>
                <a:lnTo>
                  <a:pt x="3874" y="6605"/>
                </a:lnTo>
                <a:lnTo>
                  <a:pt x="3874" y="6605"/>
                </a:lnTo>
                <a:cubicBezTo>
                  <a:pt x="3884" y="6600"/>
                  <a:pt x="3891" y="6592"/>
                  <a:pt x="3896" y="6584"/>
                </a:cubicBezTo>
                <a:lnTo>
                  <a:pt x="3896" y="6584"/>
                </a:lnTo>
                <a:cubicBezTo>
                  <a:pt x="3896" y="6584"/>
                  <a:pt x="3896" y="6584"/>
                  <a:pt x="3897" y="6584"/>
                </a:cubicBezTo>
                <a:lnTo>
                  <a:pt x="3897" y="6584"/>
                </a:lnTo>
                <a:cubicBezTo>
                  <a:pt x="3898" y="6581"/>
                  <a:pt x="3899" y="6578"/>
                  <a:pt x="3900" y="6575"/>
                </a:cubicBezTo>
                <a:lnTo>
                  <a:pt x="3900" y="6575"/>
                </a:lnTo>
                <a:lnTo>
                  <a:pt x="3901" y="6574"/>
                </a:lnTo>
                <a:lnTo>
                  <a:pt x="3901" y="6574"/>
                </a:lnTo>
                <a:cubicBezTo>
                  <a:pt x="3902" y="6571"/>
                  <a:pt x="3902" y="6569"/>
                  <a:pt x="3903" y="6566"/>
                </a:cubicBezTo>
                <a:lnTo>
                  <a:pt x="3903" y="6566"/>
                </a:lnTo>
                <a:cubicBezTo>
                  <a:pt x="3903" y="6565"/>
                  <a:pt x="3903" y="6564"/>
                  <a:pt x="3904" y="6564"/>
                </a:cubicBezTo>
                <a:lnTo>
                  <a:pt x="3904" y="6564"/>
                </a:lnTo>
                <a:cubicBezTo>
                  <a:pt x="3904" y="6561"/>
                  <a:pt x="3904" y="6558"/>
                  <a:pt x="3905" y="6555"/>
                </a:cubicBezTo>
                <a:lnTo>
                  <a:pt x="3905" y="6555"/>
                </a:lnTo>
                <a:cubicBezTo>
                  <a:pt x="3905" y="6555"/>
                  <a:pt x="3905" y="6554"/>
                  <a:pt x="3905" y="6553"/>
                </a:cubicBezTo>
                <a:lnTo>
                  <a:pt x="3905" y="6553"/>
                </a:lnTo>
                <a:cubicBezTo>
                  <a:pt x="3905" y="6550"/>
                  <a:pt x="3905" y="6547"/>
                  <a:pt x="3905" y="6544"/>
                </a:cubicBezTo>
                <a:lnTo>
                  <a:pt x="3905" y="6544"/>
                </a:lnTo>
                <a:cubicBezTo>
                  <a:pt x="3905" y="6543"/>
                  <a:pt x="3905" y="6542"/>
                  <a:pt x="3905" y="6542"/>
                </a:cubicBezTo>
                <a:lnTo>
                  <a:pt x="3905" y="6542"/>
                </a:lnTo>
                <a:cubicBezTo>
                  <a:pt x="3897" y="6383"/>
                  <a:pt x="3556" y="6021"/>
                  <a:pt x="3455" y="5917"/>
                </a:cubicBezTo>
                <a:lnTo>
                  <a:pt x="3455" y="5917"/>
                </a:lnTo>
                <a:cubicBezTo>
                  <a:pt x="3449" y="5911"/>
                  <a:pt x="3444" y="5905"/>
                  <a:pt x="3439" y="5901"/>
                </a:cubicBezTo>
                <a:lnTo>
                  <a:pt x="3439" y="5901"/>
                </a:lnTo>
                <a:cubicBezTo>
                  <a:pt x="3436" y="5897"/>
                  <a:pt x="3434" y="5895"/>
                  <a:pt x="3432" y="5894"/>
                </a:cubicBezTo>
                <a:lnTo>
                  <a:pt x="3432" y="5894"/>
                </a:lnTo>
                <a:cubicBezTo>
                  <a:pt x="3429" y="5891"/>
                  <a:pt x="3428" y="5889"/>
                  <a:pt x="3428" y="5889"/>
                </a:cubicBezTo>
                <a:lnTo>
                  <a:pt x="3260" y="5988"/>
                </a:lnTo>
                <a:lnTo>
                  <a:pt x="3260" y="5988"/>
                </a:lnTo>
                <a:cubicBezTo>
                  <a:pt x="3253" y="5986"/>
                  <a:pt x="3247" y="5984"/>
                  <a:pt x="3240" y="5982"/>
                </a:cubicBezTo>
                <a:lnTo>
                  <a:pt x="3240" y="5982"/>
                </a:lnTo>
                <a:cubicBezTo>
                  <a:pt x="3240" y="5982"/>
                  <a:pt x="3206" y="6008"/>
                  <a:pt x="3154" y="6043"/>
                </a:cubicBezTo>
                <a:lnTo>
                  <a:pt x="3154" y="6043"/>
                </a:lnTo>
                <a:cubicBezTo>
                  <a:pt x="3056" y="6108"/>
                  <a:pt x="2892" y="6205"/>
                  <a:pt x="2776" y="6208"/>
                </a:cubicBezTo>
                <a:lnTo>
                  <a:pt x="2776" y="6208"/>
                </a:lnTo>
                <a:cubicBezTo>
                  <a:pt x="2616" y="6212"/>
                  <a:pt x="2445" y="6118"/>
                  <a:pt x="2408" y="5788"/>
                </a:cubicBezTo>
                <a:lnTo>
                  <a:pt x="2408" y="5788"/>
                </a:lnTo>
                <a:cubicBezTo>
                  <a:pt x="2405" y="5754"/>
                  <a:pt x="2402" y="5718"/>
                  <a:pt x="2402" y="5679"/>
                </a:cubicBezTo>
                <a:lnTo>
                  <a:pt x="2402" y="5679"/>
                </a:lnTo>
                <a:cubicBezTo>
                  <a:pt x="2398" y="5455"/>
                  <a:pt x="2473" y="5149"/>
                  <a:pt x="2541" y="4887"/>
                </a:cubicBezTo>
                <a:lnTo>
                  <a:pt x="2541" y="4887"/>
                </a:lnTo>
                <a:cubicBezTo>
                  <a:pt x="2629" y="4864"/>
                  <a:pt x="2711" y="4829"/>
                  <a:pt x="2723" y="4799"/>
                </a:cubicBezTo>
                <a:lnTo>
                  <a:pt x="2723" y="4799"/>
                </a:lnTo>
                <a:cubicBezTo>
                  <a:pt x="2734" y="4770"/>
                  <a:pt x="2723" y="4554"/>
                  <a:pt x="2714" y="4313"/>
                </a:cubicBezTo>
                <a:lnTo>
                  <a:pt x="2714" y="4313"/>
                </a:lnTo>
                <a:cubicBezTo>
                  <a:pt x="2713" y="4302"/>
                  <a:pt x="2713" y="4290"/>
                  <a:pt x="2713" y="4278"/>
                </a:cubicBezTo>
                <a:lnTo>
                  <a:pt x="2713" y="4278"/>
                </a:lnTo>
                <a:cubicBezTo>
                  <a:pt x="2713" y="4276"/>
                  <a:pt x="2713" y="4274"/>
                  <a:pt x="2712" y="4271"/>
                </a:cubicBezTo>
                <a:lnTo>
                  <a:pt x="2712" y="4271"/>
                </a:lnTo>
                <a:cubicBezTo>
                  <a:pt x="2712" y="4260"/>
                  <a:pt x="2711" y="4248"/>
                  <a:pt x="2711" y="4237"/>
                </a:cubicBezTo>
                <a:lnTo>
                  <a:pt x="2711" y="4237"/>
                </a:lnTo>
                <a:cubicBezTo>
                  <a:pt x="2711" y="4233"/>
                  <a:pt x="2711" y="4228"/>
                  <a:pt x="2710" y="4224"/>
                </a:cubicBezTo>
                <a:lnTo>
                  <a:pt x="2710" y="4224"/>
                </a:lnTo>
                <a:cubicBezTo>
                  <a:pt x="2710" y="4223"/>
                  <a:pt x="2710" y="4223"/>
                  <a:pt x="2710" y="4222"/>
                </a:cubicBezTo>
                <a:lnTo>
                  <a:pt x="2710" y="4222"/>
                </a:lnTo>
                <a:cubicBezTo>
                  <a:pt x="2709" y="4192"/>
                  <a:pt x="2708" y="4161"/>
                  <a:pt x="2707" y="4131"/>
                </a:cubicBezTo>
                <a:lnTo>
                  <a:pt x="2707" y="4131"/>
                </a:lnTo>
                <a:cubicBezTo>
                  <a:pt x="2707" y="4127"/>
                  <a:pt x="2707" y="4123"/>
                  <a:pt x="2707" y="4119"/>
                </a:cubicBezTo>
                <a:lnTo>
                  <a:pt x="2707" y="4119"/>
                </a:lnTo>
                <a:cubicBezTo>
                  <a:pt x="2707" y="4108"/>
                  <a:pt x="2706" y="4097"/>
                  <a:pt x="2706" y="4086"/>
                </a:cubicBezTo>
                <a:lnTo>
                  <a:pt x="2706" y="4086"/>
                </a:lnTo>
                <a:cubicBezTo>
                  <a:pt x="2705" y="4081"/>
                  <a:pt x="2705" y="4076"/>
                  <a:pt x="2705" y="4071"/>
                </a:cubicBezTo>
                <a:lnTo>
                  <a:pt x="2705" y="4071"/>
                </a:lnTo>
                <a:cubicBezTo>
                  <a:pt x="2705" y="4061"/>
                  <a:pt x="2705" y="4051"/>
                  <a:pt x="2705" y="4042"/>
                </a:cubicBezTo>
                <a:lnTo>
                  <a:pt x="2705" y="4042"/>
                </a:lnTo>
                <a:cubicBezTo>
                  <a:pt x="2704" y="4036"/>
                  <a:pt x="2704" y="4030"/>
                  <a:pt x="2704" y="4025"/>
                </a:cubicBezTo>
                <a:lnTo>
                  <a:pt x="2704" y="4025"/>
                </a:lnTo>
                <a:cubicBezTo>
                  <a:pt x="2704" y="4016"/>
                  <a:pt x="2704" y="4007"/>
                  <a:pt x="2704" y="3998"/>
                </a:cubicBezTo>
                <a:lnTo>
                  <a:pt x="2704" y="3998"/>
                </a:lnTo>
                <a:cubicBezTo>
                  <a:pt x="2704" y="3992"/>
                  <a:pt x="2703" y="3986"/>
                  <a:pt x="2703" y="3981"/>
                </a:cubicBezTo>
                <a:lnTo>
                  <a:pt x="2703" y="3981"/>
                </a:lnTo>
                <a:cubicBezTo>
                  <a:pt x="2703" y="3972"/>
                  <a:pt x="2703" y="3963"/>
                  <a:pt x="2703" y="3953"/>
                </a:cubicBezTo>
                <a:lnTo>
                  <a:pt x="2703" y="3953"/>
                </a:lnTo>
                <a:cubicBezTo>
                  <a:pt x="2703" y="3949"/>
                  <a:pt x="2703" y="3943"/>
                  <a:pt x="2703" y="3938"/>
                </a:cubicBezTo>
                <a:lnTo>
                  <a:pt x="2703" y="3938"/>
                </a:lnTo>
                <a:cubicBezTo>
                  <a:pt x="2703" y="3929"/>
                  <a:pt x="2703" y="3919"/>
                  <a:pt x="2703" y="3909"/>
                </a:cubicBezTo>
                <a:lnTo>
                  <a:pt x="2703" y="3909"/>
                </a:lnTo>
                <a:cubicBezTo>
                  <a:pt x="2703" y="3906"/>
                  <a:pt x="2703" y="3901"/>
                  <a:pt x="2703" y="3898"/>
                </a:cubicBezTo>
                <a:lnTo>
                  <a:pt x="2703" y="3898"/>
                </a:lnTo>
                <a:cubicBezTo>
                  <a:pt x="2702" y="3884"/>
                  <a:pt x="2702" y="3872"/>
                  <a:pt x="2703" y="3859"/>
                </a:cubicBezTo>
                <a:lnTo>
                  <a:pt x="2703" y="3859"/>
                </a:lnTo>
                <a:lnTo>
                  <a:pt x="2703" y="3859"/>
                </a:lnTo>
                <a:cubicBezTo>
                  <a:pt x="2703" y="3858"/>
                  <a:pt x="2703" y="3858"/>
                  <a:pt x="2703" y="3857"/>
                </a:cubicBezTo>
                <a:lnTo>
                  <a:pt x="2703" y="3857"/>
                </a:lnTo>
                <a:cubicBezTo>
                  <a:pt x="2703" y="3845"/>
                  <a:pt x="2703" y="3832"/>
                  <a:pt x="2703" y="3821"/>
                </a:cubicBezTo>
                <a:lnTo>
                  <a:pt x="2703" y="3821"/>
                </a:lnTo>
                <a:cubicBezTo>
                  <a:pt x="2703" y="3817"/>
                  <a:pt x="2703" y="3814"/>
                  <a:pt x="2703" y="3810"/>
                </a:cubicBezTo>
                <a:lnTo>
                  <a:pt x="2703" y="3810"/>
                </a:lnTo>
                <a:cubicBezTo>
                  <a:pt x="2703" y="3802"/>
                  <a:pt x="2703" y="3794"/>
                  <a:pt x="2703" y="3786"/>
                </a:cubicBezTo>
                <a:lnTo>
                  <a:pt x="2703" y="3786"/>
                </a:lnTo>
                <a:cubicBezTo>
                  <a:pt x="2704" y="3781"/>
                  <a:pt x="2704" y="3777"/>
                  <a:pt x="2704" y="3774"/>
                </a:cubicBezTo>
                <a:lnTo>
                  <a:pt x="2704" y="3774"/>
                </a:lnTo>
                <a:cubicBezTo>
                  <a:pt x="2704" y="3767"/>
                  <a:pt x="2704" y="3760"/>
                  <a:pt x="2704" y="3753"/>
                </a:cubicBezTo>
                <a:lnTo>
                  <a:pt x="2704" y="3753"/>
                </a:lnTo>
                <a:cubicBezTo>
                  <a:pt x="2705" y="3748"/>
                  <a:pt x="2705" y="3745"/>
                  <a:pt x="2705" y="3740"/>
                </a:cubicBezTo>
                <a:lnTo>
                  <a:pt x="2705" y="3740"/>
                </a:lnTo>
                <a:cubicBezTo>
                  <a:pt x="2705" y="3735"/>
                  <a:pt x="2705" y="3728"/>
                  <a:pt x="2706" y="3723"/>
                </a:cubicBezTo>
                <a:lnTo>
                  <a:pt x="2706" y="3723"/>
                </a:lnTo>
                <a:cubicBezTo>
                  <a:pt x="2707" y="3718"/>
                  <a:pt x="2707" y="3715"/>
                  <a:pt x="2707" y="3711"/>
                </a:cubicBezTo>
                <a:lnTo>
                  <a:pt x="2707" y="3711"/>
                </a:lnTo>
                <a:cubicBezTo>
                  <a:pt x="2707" y="3705"/>
                  <a:pt x="2708" y="3700"/>
                  <a:pt x="2708" y="3695"/>
                </a:cubicBezTo>
                <a:lnTo>
                  <a:pt x="2708" y="3695"/>
                </a:lnTo>
                <a:cubicBezTo>
                  <a:pt x="2708" y="3691"/>
                  <a:pt x="2709" y="3687"/>
                  <a:pt x="2709" y="3685"/>
                </a:cubicBezTo>
                <a:lnTo>
                  <a:pt x="2709" y="3685"/>
                </a:lnTo>
                <a:cubicBezTo>
                  <a:pt x="2710" y="3679"/>
                  <a:pt x="2710" y="3673"/>
                  <a:pt x="2711" y="3669"/>
                </a:cubicBezTo>
                <a:lnTo>
                  <a:pt x="2711" y="3669"/>
                </a:lnTo>
                <a:cubicBezTo>
                  <a:pt x="2711" y="3666"/>
                  <a:pt x="2711" y="3664"/>
                  <a:pt x="2712" y="3661"/>
                </a:cubicBezTo>
                <a:lnTo>
                  <a:pt x="2712" y="3661"/>
                </a:lnTo>
                <a:cubicBezTo>
                  <a:pt x="2713" y="3654"/>
                  <a:pt x="2714" y="3647"/>
                  <a:pt x="2715" y="3641"/>
                </a:cubicBezTo>
                <a:lnTo>
                  <a:pt x="2715" y="3641"/>
                </a:lnTo>
                <a:cubicBezTo>
                  <a:pt x="2718" y="3626"/>
                  <a:pt x="2723" y="3607"/>
                  <a:pt x="2728" y="3585"/>
                </a:cubicBezTo>
                <a:lnTo>
                  <a:pt x="2728" y="3585"/>
                </a:lnTo>
                <a:cubicBezTo>
                  <a:pt x="2729" y="3584"/>
                  <a:pt x="2729" y="3582"/>
                  <a:pt x="2730" y="3581"/>
                </a:cubicBezTo>
                <a:lnTo>
                  <a:pt x="2730" y="3581"/>
                </a:lnTo>
                <a:cubicBezTo>
                  <a:pt x="2755" y="3480"/>
                  <a:pt x="2803" y="3316"/>
                  <a:pt x="2856" y="3142"/>
                </a:cubicBezTo>
                <a:lnTo>
                  <a:pt x="2856" y="3142"/>
                </a:lnTo>
                <a:lnTo>
                  <a:pt x="2856" y="3142"/>
                </a:lnTo>
                <a:lnTo>
                  <a:pt x="2856" y="3142"/>
                </a:lnTo>
                <a:cubicBezTo>
                  <a:pt x="2881" y="3060"/>
                  <a:pt x="2907" y="2977"/>
                  <a:pt x="2933" y="2897"/>
                </a:cubicBezTo>
                <a:lnTo>
                  <a:pt x="2933" y="2897"/>
                </a:lnTo>
                <a:cubicBezTo>
                  <a:pt x="3245" y="3009"/>
                  <a:pt x="4008" y="3047"/>
                  <a:pt x="4278" y="2938"/>
                </a:cubicBezTo>
                <a:lnTo>
                  <a:pt x="4278" y="2938"/>
                </a:lnTo>
                <a:cubicBezTo>
                  <a:pt x="4295" y="2932"/>
                  <a:pt x="4310" y="2922"/>
                  <a:pt x="4324" y="2909"/>
                </a:cubicBezTo>
                <a:lnTo>
                  <a:pt x="4324" y="2909"/>
                </a:lnTo>
                <a:cubicBezTo>
                  <a:pt x="4327" y="2906"/>
                  <a:pt x="4330" y="2903"/>
                  <a:pt x="4333" y="2901"/>
                </a:cubicBezTo>
                <a:lnTo>
                  <a:pt x="4333" y="2901"/>
                </a:lnTo>
                <a:cubicBezTo>
                  <a:pt x="4334" y="2900"/>
                  <a:pt x="4335" y="2899"/>
                  <a:pt x="4336" y="2898"/>
                </a:cubicBezTo>
                <a:lnTo>
                  <a:pt x="4336" y="2898"/>
                </a:lnTo>
                <a:cubicBezTo>
                  <a:pt x="4595" y="2635"/>
                  <a:pt x="4343" y="1417"/>
                  <a:pt x="4343" y="141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Roboto Light" panose="02000000000000000000" pitchFamily="2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E9F8059-43C5-B442-A347-779B3D079F6D}"/>
              </a:ext>
            </a:extLst>
          </p:cNvPr>
          <p:cNvSpPr txBox="1"/>
          <p:nvPr userDrawn="1"/>
        </p:nvSpPr>
        <p:spPr>
          <a:xfrm>
            <a:off x="7452947" y="108659"/>
            <a:ext cx="4496550" cy="375156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r"/>
            <a:r>
              <a:rPr lang="en-US" sz="2000" b="1" dirty="0" smtClean="0">
                <a:latin typeface="Arial" panose="020B0604020202020204" pitchFamily="34" charset="0"/>
                <a:ea typeface="League Spartan" charset="0"/>
                <a:cs typeface="Arial" panose="020B0604020202020204" pitchFamily="34" charset="0"/>
              </a:rPr>
              <a:t>HELP NEEDED / HOT TOPICS</a:t>
            </a:r>
            <a:endParaRPr lang="en-US" sz="2000" b="1" dirty="0">
              <a:latin typeface="Arial" panose="020B0604020202020204" pitchFamily="34" charset="0"/>
              <a:ea typeface="League Spartan" charset="0"/>
              <a:cs typeface="Arial" panose="020B0604020202020204" pitchFamily="34" charset="0"/>
            </a:endParaRPr>
          </a:p>
        </p:txBody>
      </p:sp>
      <p:sp>
        <p:nvSpPr>
          <p:cNvPr id="24" name="Freeform 5">
            <a:extLst>
              <a:ext uri="{FF2B5EF4-FFF2-40B4-BE49-F238E27FC236}">
                <a16:creationId xmlns:a16="http://schemas.microsoft.com/office/drawing/2014/main" id="{FA510B0B-C157-F046-8FAB-92DE94ACE659}"/>
              </a:ext>
            </a:extLst>
          </p:cNvPr>
          <p:cNvSpPr>
            <a:spLocks noChangeAspect="1"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24512" y="3028123"/>
            <a:ext cx="330918" cy="1015931"/>
          </a:xfrm>
          <a:custGeom>
            <a:avLst/>
            <a:gdLst>
              <a:gd name="T0" fmla="*/ 1802 w 2708"/>
              <a:gd name="T1" fmla="*/ 1992 h 8311"/>
              <a:gd name="T2" fmla="*/ 1906 w 2708"/>
              <a:gd name="T3" fmla="*/ 1971 h 8311"/>
              <a:gd name="T4" fmla="*/ 2691 w 2708"/>
              <a:gd name="T5" fmla="*/ 3520 h 8311"/>
              <a:gd name="T6" fmla="*/ 2201 w 2708"/>
              <a:gd name="T7" fmla="*/ 2141 h 8311"/>
              <a:gd name="T8" fmla="*/ 2358 w 2708"/>
              <a:gd name="T9" fmla="*/ 2014 h 8311"/>
              <a:gd name="T10" fmla="*/ 2323 w 2708"/>
              <a:gd name="T11" fmla="*/ 1966 h 8311"/>
              <a:gd name="T12" fmla="*/ 2249 w 2708"/>
              <a:gd name="T13" fmla="*/ 1751 h 8311"/>
              <a:gd name="T14" fmla="*/ 2251 w 2708"/>
              <a:gd name="T15" fmla="*/ 1722 h 8311"/>
              <a:gd name="T16" fmla="*/ 2343 w 2708"/>
              <a:gd name="T17" fmla="*/ 1459 h 8311"/>
              <a:gd name="T18" fmla="*/ 2374 w 2708"/>
              <a:gd name="T19" fmla="*/ 1442 h 8311"/>
              <a:gd name="T20" fmla="*/ 2400 w 2708"/>
              <a:gd name="T21" fmla="*/ 1413 h 8311"/>
              <a:gd name="T22" fmla="*/ 2422 w 2708"/>
              <a:gd name="T23" fmla="*/ 1374 h 8311"/>
              <a:gd name="T24" fmla="*/ 2437 w 2708"/>
              <a:gd name="T25" fmla="*/ 1329 h 8311"/>
              <a:gd name="T26" fmla="*/ 2447 w 2708"/>
              <a:gd name="T27" fmla="*/ 1281 h 8311"/>
              <a:gd name="T28" fmla="*/ 2280 w 2708"/>
              <a:gd name="T29" fmla="*/ 1013 h 8311"/>
              <a:gd name="T30" fmla="*/ 2202 w 2708"/>
              <a:gd name="T31" fmla="*/ 591 h 8311"/>
              <a:gd name="T32" fmla="*/ 2163 w 2708"/>
              <a:gd name="T33" fmla="*/ 144 h 8311"/>
              <a:gd name="T34" fmla="*/ 1925 w 2708"/>
              <a:gd name="T35" fmla="*/ 55 h 8311"/>
              <a:gd name="T36" fmla="*/ 921 w 2708"/>
              <a:gd name="T37" fmla="*/ 455 h 8311"/>
              <a:gd name="T38" fmla="*/ 911 w 2708"/>
              <a:gd name="T39" fmla="*/ 500 h 8311"/>
              <a:gd name="T40" fmla="*/ 897 w 2708"/>
              <a:gd name="T41" fmla="*/ 500 h 8311"/>
              <a:gd name="T42" fmla="*/ 875 w 2708"/>
              <a:gd name="T43" fmla="*/ 501 h 8311"/>
              <a:gd name="T44" fmla="*/ 845 w 2708"/>
              <a:gd name="T45" fmla="*/ 505 h 8311"/>
              <a:gd name="T46" fmla="*/ 810 w 2708"/>
              <a:gd name="T47" fmla="*/ 513 h 8311"/>
              <a:gd name="T48" fmla="*/ 773 w 2708"/>
              <a:gd name="T49" fmla="*/ 528 h 8311"/>
              <a:gd name="T50" fmla="*/ 732 w 2708"/>
              <a:gd name="T51" fmla="*/ 553 h 8311"/>
              <a:gd name="T52" fmla="*/ 605 w 2708"/>
              <a:gd name="T53" fmla="*/ 787 h 8311"/>
              <a:gd name="T54" fmla="*/ 602 w 2708"/>
              <a:gd name="T55" fmla="*/ 806 h 8311"/>
              <a:gd name="T56" fmla="*/ 601 w 2708"/>
              <a:gd name="T57" fmla="*/ 835 h 8311"/>
              <a:gd name="T58" fmla="*/ 603 w 2708"/>
              <a:gd name="T59" fmla="*/ 884 h 8311"/>
              <a:gd name="T60" fmla="*/ 610 w 2708"/>
              <a:gd name="T61" fmla="*/ 930 h 8311"/>
              <a:gd name="T62" fmla="*/ 620 w 2708"/>
              <a:gd name="T63" fmla="*/ 981 h 8311"/>
              <a:gd name="T64" fmla="*/ 639 w 2708"/>
              <a:gd name="T65" fmla="*/ 1044 h 8311"/>
              <a:gd name="T66" fmla="*/ 666 w 2708"/>
              <a:gd name="T67" fmla="*/ 1115 h 8311"/>
              <a:gd name="T68" fmla="*/ 719 w 2708"/>
              <a:gd name="T69" fmla="*/ 1168 h 8311"/>
              <a:gd name="T70" fmla="*/ 662 w 2708"/>
              <a:gd name="T71" fmla="*/ 1368 h 8311"/>
              <a:gd name="T72" fmla="*/ 712 w 2708"/>
              <a:gd name="T73" fmla="*/ 1494 h 8311"/>
              <a:gd name="T74" fmla="*/ 1339 w 2708"/>
              <a:gd name="T75" fmla="*/ 2034 h 8311"/>
              <a:gd name="T76" fmla="*/ 791 w 2708"/>
              <a:gd name="T77" fmla="*/ 3909 h 8311"/>
              <a:gd name="T78" fmla="*/ 802 w 2708"/>
              <a:gd name="T79" fmla="*/ 3929 h 8311"/>
              <a:gd name="T80" fmla="*/ 837 w 2708"/>
              <a:gd name="T81" fmla="*/ 4072 h 8311"/>
              <a:gd name="T82" fmla="*/ 767 w 2708"/>
              <a:gd name="T83" fmla="*/ 4587 h 8311"/>
              <a:gd name="T84" fmla="*/ 778 w 2708"/>
              <a:gd name="T85" fmla="*/ 4605 h 8311"/>
              <a:gd name="T86" fmla="*/ 801 w 2708"/>
              <a:gd name="T87" fmla="*/ 4625 h 8311"/>
              <a:gd name="T88" fmla="*/ 832 w 2708"/>
              <a:gd name="T89" fmla="*/ 4645 h 8311"/>
              <a:gd name="T90" fmla="*/ 63 w 2708"/>
              <a:gd name="T91" fmla="*/ 8048 h 8311"/>
              <a:gd name="T92" fmla="*/ 0 w 2708"/>
              <a:gd name="T93" fmla="*/ 8156 h 8311"/>
              <a:gd name="T94" fmla="*/ 21 w 2708"/>
              <a:gd name="T95" fmla="*/ 8201 h 8311"/>
              <a:gd name="T96" fmla="*/ 873 w 2708"/>
              <a:gd name="T97" fmla="*/ 7962 h 8311"/>
              <a:gd name="T98" fmla="*/ 1571 w 2708"/>
              <a:gd name="T99" fmla="*/ 5211 h 8311"/>
              <a:gd name="T100" fmla="*/ 1604 w 2708"/>
              <a:gd name="T101" fmla="*/ 5203 h 8311"/>
              <a:gd name="T102" fmla="*/ 1539 w 2708"/>
              <a:gd name="T103" fmla="*/ 7723 h 8311"/>
              <a:gd name="T104" fmla="*/ 1537 w 2708"/>
              <a:gd name="T105" fmla="*/ 7776 h 8311"/>
              <a:gd name="T106" fmla="*/ 1536 w 2708"/>
              <a:gd name="T107" fmla="*/ 7825 h 8311"/>
              <a:gd name="T108" fmla="*/ 1536 w 2708"/>
              <a:gd name="T109" fmla="*/ 7868 h 8311"/>
              <a:gd name="T110" fmla="*/ 1536 w 2708"/>
              <a:gd name="T111" fmla="*/ 7906 h 8311"/>
              <a:gd name="T112" fmla="*/ 1537 w 2708"/>
              <a:gd name="T113" fmla="*/ 7937 h 8311"/>
              <a:gd name="T114" fmla="*/ 2467 w 2708"/>
              <a:gd name="T115" fmla="*/ 8224 h 8311"/>
              <a:gd name="T116" fmla="*/ 2492 w 2708"/>
              <a:gd name="T117" fmla="*/ 8204 h 8311"/>
              <a:gd name="T118" fmla="*/ 2502 w 2708"/>
              <a:gd name="T119" fmla="*/ 8149 h 8311"/>
              <a:gd name="T120" fmla="*/ 1906 w 2708"/>
              <a:gd name="T121" fmla="*/ 7950 h 8311"/>
              <a:gd name="T122" fmla="*/ 2185 w 2708"/>
              <a:gd name="T123" fmla="*/ 4450 h 8311"/>
              <a:gd name="T124" fmla="*/ 2228 w 2708"/>
              <a:gd name="T125" fmla="*/ 3700 h 8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708" h="8311">
                <a:moveTo>
                  <a:pt x="1749" y="2031"/>
                </a:moveTo>
                <a:lnTo>
                  <a:pt x="1749" y="2031"/>
                </a:lnTo>
                <a:cubicBezTo>
                  <a:pt x="1753" y="2036"/>
                  <a:pt x="1771" y="2060"/>
                  <a:pt x="1794" y="2100"/>
                </a:cubicBezTo>
                <a:lnTo>
                  <a:pt x="1794" y="2100"/>
                </a:lnTo>
                <a:cubicBezTo>
                  <a:pt x="1775" y="2072"/>
                  <a:pt x="1754" y="2046"/>
                  <a:pt x="1733" y="2022"/>
                </a:cubicBezTo>
                <a:lnTo>
                  <a:pt x="1733" y="2022"/>
                </a:lnTo>
                <a:cubicBezTo>
                  <a:pt x="1735" y="2040"/>
                  <a:pt x="1735" y="2057"/>
                  <a:pt x="1734" y="2074"/>
                </a:cubicBezTo>
                <a:lnTo>
                  <a:pt x="1731" y="2000"/>
                </a:lnTo>
                <a:lnTo>
                  <a:pt x="1731" y="2000"/>
                </a:lnTo>
                <a:cubicBezTo>
                  <a:pt x="1742" y="1999"/>
                  <a:pt x="1754" y="1997"/>
                  <a:pt x="1765" y="1996"/>
                </a:cubicBezTo>
                <a:lnTo>
                  <a:pt x="1765" y="1996"/>
                </a:lnTo>
                <a:cubicBezTo>
                  <a:pt x="1778" y="1995"/>
                  <a:pt x="1790" y="1993"/>
                  <a:pt x="1802" y="1992"/>
                </a:cubicBezTo>
                <a:lnTo>
                  <a:pt x="1802" y="1992"/>
                </a:lnTo>
                <a:cubicBezTo>
                  <a:pt x="1804" y="1991"/>
                  <a:pt x="1806" y="1991"/>
                  <a:pt x="1809" y="1990"/>
                </a:cubicBezTo>
                <a:lnTo>
                  <a:pt x="1809" y="1990"/>
                </a:lnTo>
                <a:cubicBezTo>
                  <a:pt x="1821" y="1989"/>
                  <a:pt x="1832" y="1987"/>
                  <a:pt x="1843" y="1984"/>
                </a:cubicBezTo>
                <a:lnTo>
                  <a:pt x="1843" y="1984"/>
                </a:lnTo>
                <a:cubicBezTo>
                  <a:pt x="1845" y="1984"/>
                  <a:pt x="1847" y="1984"/>
                  <a:pt x="1849" y="1983"/>
                </a:cubicBezTo>
                <a:lnTo>
                  <a:pt x="1849" y="1983"/>
                </a:lnTo>
                <a:cubicBezTo>
                  <a:pt x="1860" y="1981"/>
                  <a:pt x="1872" y="1979"/>
                  <a:pt x="1882" y="1976"/>
                </a:cubicBezTo>
                <a:lnTo>
                  <a:pt x="1882" y="1976"/>
                </a:lnTo>
                <a:cubicBezTo>
                  <a:pt x="1883" y="1976"/>
                  <a:pt x="1884" y="1976"/>
                  <a:pt x="1884" y="1976"/>
                </a:cubicBezTo>
                <a:lnTo>
                  <a:pt x="1884" y="1976"/>
                </a:lnTo>
                <a:cubicBezTo>
                  <a:pt x="1892" y="1974"/>
                  <a:pt x="1899" y="1972"/>
                  <a:pt x="1906" y="1971"/>
                </a:cubicBezTo>
                <a:lnTo>
                  <a:pt x="1906" y="1971"/>
                </a:lnTo>
                <a:cubicBezTo>
                  <a:pt x="1903" y="1974"/>
                  <a:pt x="1900" y="1978"/>
                  <a:pt x="1897" y="1982"/>
                </a:cubicBezTo>
                <a:lnTo>
                  <a:pt x="1897" y="1982"/>
                </a:lnTo>
                <a:cubicBezTo>
                  <a:pt x="1909" y="1985"/>
                  <a:pt x="1921" y="1989"/>
                  <a:pt x="1933" y="1992"/>
                </a:cubicBezTo>
                <a:lnTo>
                  <a:pt x="1933" y="1992"/>
                </a:lnTo>
                <a:cubicBezTo>
                  <a:pt x="1913" y="2019"/>
                  <a:pt x="1896" y="2052"/>
                  <a:pt x="1896" y="2089"/>
                </a:cubicBezTo>
                <a:lnTo>
                  <a:pt x="1896" y="2089"/>
                </a:lnTo>
                <a:cubicBezTo>
                  <a:pt x="1822" y="2040"/>
                  <a:pt x="1758" y="2040"/>
                  <a:pt x="1749" y="2031"/>
                </a:cubicBezTo>
                <a:close/>
                <a:moveTo>
                  <a:pt x="2687" y="3559"/>
                </a:moveTo>
                <a:lnTo>
                  <a:pt x="2687" y="3559"/>
                </a:lnTo>
                <a:cubicBezTo>
                  <a:pt x="2689" y="3545"/>
                  <a:pt x="2690" y="3533"/>
                  <a:pt x="2691" y="3520"/>
                </a:cubicBezTo>
                <a:lnTo>
                  <a:pt x="2691" y="3520"/>
                </a:lnTo>
                <a:cubicBezTo>
                  <a:pt x="2697" y="3479"/>
                  <a:pt x="2692" y="3423"/>
                  <a:pt x="2679" y="3359"/>
                </a:cubicBezTo>
                <a:lnTo>
                  <a:pt x="2679" y="3359"/>
                </a:lnTo>
                <a:cubicBezTo>
                  <a:pt x="2685" y="3338"/>
                  <a:pt x="2684" y="3306"/>
                  <a:pt x="2661" y="3261"/>
                </a:cubicBezTo>
                <a:lnTo>
                  <a:pt x="2661" y="3261"/>
                </a:lnTo>
                <a:cubicBezTo>
                  <a:pt x="2658" y="3256"/>
                  <a:pt x="2655" y="3251"/>
                  <a:pt x="2652" y="3247"/>
                </a:cubicBezTo>
                <a:lnTo>
                  <a:pt x="2652" y="3247"/>
                </a:lnTo>
                <a:cubicBezTo>
                  <a:pt x="2616" y="3113"/>
                  <a:pt x="2568" y="2964"/>
                  <a:pt x="2543" y="2840"/>
                </a:cubicBezTo>
                <a:lnTo>
                  <a:pt x="2543" y="2840"/>
                </a:lnTo>
                <a:cubicBezTo>
                  <a:pt x="2495" y="2602"/>
                  <a:pt x="2437" y="2195"/>
                  <a:pt x="2390" y="2222"/>
                </a:cubicBezTo>
                <a:lnTo>
                  <a:pt x="2390" y="2222"/>
                </a:lnTo>
                <a:cubicBezTo>
                  <a:pt x="2362" y="2183"/>
                  <a:pt x="2286" y="2158"/>
                  <a:pt x="2201" y="2141"/>
                </a:cubicBezTo>
                <a:lnTo>
                  <a:pt x="2201" y="2141"/>
                </a:lnTo>
                <a:cubicBezTo>
                  <a:pt x="2213" y="2130"/>
                  <a:pt x="2228" y="2115"/>
                  <a:pt x="2242" y="2098"/>
                </a:cubicBezTo>
                <a:lnTo>
                  <a:pt x="2242" y="2098"/>
                </a:lnTo>
                <a:cubicBezTo>
                  <a:pt x="2271" y="2098"/>
                  <a:pt x="2311" y="2102"/>
                  <a:pt x="2339" y="2115"/>
                </a:cubicBezTo>
                <a:lnTo>
                  <a:pt x="2339" y="2115"/>
                </a:lnTo>
                <a:cubicBezTo>
                  <a:pt x="2382" y="2134"/>
                  <a:pt x="2389" y="2069"/>
                  <a:pt x="2365" y="2025"/>
                </a:cubicBezTo>
                <a:lnTo>
                  <a:pt x="2365" y="2025"/>
                </a:lnTo>
                <a:cubicBezTo>
                  <a:pt x="2364" y="2025"/>
                  <a:pt x="2364" y="2025"/>
                  <a:pt x="2364" y="2025"/>
                </a:cubicBezTo>
                <a:lnTo>
                  <a:pt x="2364" y="2025"/>
                </a:lnTo>
                <a:cubicBezTo>
                  <a:pt x="2363" y="2022"/>
                  <a:pt x="2361" y="2019"/>
                  <a:pt x="2358" y="2015"/>
                </a:cubicBezTo>
                <a:lnTo>
                  <a:pt x="2358" y="2015"/>
                </a:lnTo>
                <a:lnTo>
                  <a:pt x="2358" y="2014"/>
                </a:lnTo>
                <a:lnTo>
                  <a:pt x="2358" y="2014"/>
                </a:lnTo>
                <a:cubicBezTo>
                  <a:pt x="2355" y="2012"/>
                  <a:pt x="2353" y="2009"/>
                  <a:pt x="2350" y="2006"/>
                </a:cubicBezTo>
                <a:lnTo>
                  <a:pt x="2350" y="2006"/>
                </a:lnTo>
                <a:cubicBezTo>
                  <a:pt x="2350" y="2006"/>
                  <a:pt x="2350" y="2006"/>
                  <a:pt x="2349" y="2006"/>
                </a:cubicBezTo>
                <a:lnTo>
                  <a:pt x="2349" y="2006"/>
                </a:lnTo>
                <a:cubicBezTo>
                  <a:pt x="2346" y="2003"/>
                  <a:pt x="2343" y="2000"/>
                  <a:pt x="2340" y="1998"/>
                </a:cubicBezTo>
                <a:lnTo>
                  <a:pt x="2340" y="1998"/>
                </a:lnTo>
                <a:cubicBezTo>
                  <a:pt x="2334" y="1994"/>
                  <a:pt x="2328" y="1992"/>
                  <a:pt x="2320" y="1991"/>
                </a:cubicBezTo>
                <a:lnTo>
                  <a:pt x="2320" y="1991"/>
                </a:lnTo>
                <a:cubicBezTo>
                  <a:pt x="2322" y="1985"/>
                  <a:pt x="2324" y="1979"/>
                  <a:pt x="2324" y="1973"/>
                </a:cubicBezTo>
                <a:lnTo>
                  <a:pt x="2324" y="1973"/>
                </a:lnTo>
                <a:cubicBezTo>
                  <a:pt x="2324" y="1971"/>
                  <a:pt x="2323" y="1967"/>
                  <a:pt x="2323" y="1966"/>
                </a:cubicBezTo>
                <a:lnTo>
                  <a:pt x="2323" y="1966"/>
                </a:lnTo>
                <a:cubicBezTo>
                  <a:pt x="2332" y="1934"/>
                  <a:pt x="2333" y="1903"/>
                  <a:pt x="2321" y="1874"/>
                </a:cubicBezTo>
                <a:lnTo>
                  <a:pt x="2321" y="1874"/>
                </a:lnTo>
                <a:cubicBezTo>
                  <a:pt x="2299" y="1828"/>
                  <a:pt x="2278" y="1791"/>
                  <a:pt x="2257" y="1762"/>
                </a:cubicBezTo>
                <a:lnTo>
                  <a:pt x="2257" y="1762"/>
                </a:lnTo>
                <a:lnTo>
                  <a:pt x="2257" y="1762"/>
                </a:lnTo>
                <a:lnTo>
                  <a:pt x="2257" y="1762"/>
                </a:lnTo>
                <a:lnTo>
                  <a:pt x="2257" y="1762"/>
                </a:lnTo>
                <a:lnTo>
                  <a:pt x="2257" y="1762"/>
                </a:lnTo>
                <a:cubicBezTo>
                  <a:pt x="2255" y="1761"/>
                  <a:pt x="2254" y="1759"/>
                  <a:pt x="2253" y="1758"/>
                </a:cubicBezTo>
                <a:lnTo>
                  <a:pt x="2253" y="1758"/>
                </a:lnTo>
                <a:cubicBezTo>
                  <a:pt x="2252" y="1755"/>
                  <a:pt x="2250" y="1753"/>
                  <a:pt x="2249" y="1751"/>
                </a:cubicBezTo>
                <a:lnTo>
                  <a:pt x="2249" y="1751"/>
                </a:lnTo>
                <a:cubicBezTo>
                  <a:pt x="2248" y="1750"/>
                  <a:pt x="2246" y="1748"/>
                  <a:pt x="2245" y="1746"/>
                </a:cubicBezTo>
                <a:lnTo>
                  <a:pt x="2245" y="1746"/>
                </a:lnTo>
                <a:cubicBezTo>
                  <a:pt x="2243" y="1744"/>
                  <a:pt x="2242" y="1742"/>
                  <a:pt x="2240" y="1741"/>
                </a:cubicBezTo>
                <a:lnTo>
                  <a:pt x="2240" y="1741"/>
                </a:lnTo>
                <a:cubicBezTo>
                  <a:pt x="2240" y="1741"/>
                  <a:pt x="2240" y="1741"/>
                  <a:pt x="2240" y="1740"/>
                </a:cubicBezTo>
                <a:lnTo>
                  <a:pt x="2240" y="1740"/>
                </a:lnTo>
                <a:cubicBezTo>
                  <a:pt x="2243" y="1736"/>
                  <a:pt x="2246" y="1732"/>
                  <a:pt x="2248" y="1728"/>
                </a:cubicBezTo>
                <a:lnTo>
                  <a:pt x="2248" y="1728"/>
                </a:lnTo>
                <a:cubicBezTo>
                  <a:pt x="2249" y="1726"/>
                  <a:pt x="2250" y="1724"/>
                  <a:pt x="2251" y="1722"/>
                </a:cubicBezTo>
                <a:lnTo>
                  <a:pt x="2251" y="1722"/>
                </a:lnTo>
                <a:lnTo>
                  <a:pt x="2251" y="1722"/>
                </a:lnTo>
                <a:lnTo>
                  <a:pt x="2251" y="1722"/>
                </a:lnTo>
                <a:lnTo>
                  <a:pt x="2251" y="1722"/>
                </a:lnTo>
                <a:lnTo>
                  <a:pt x="2251" y="1722"/>
                </a:lnTo>
                <a:cubicBezTo>
                  <a:pt x="2300" y="1635"/>
                  <a:pt x="2318" y="1541"/>
                  <a:pt x="2320" y="1462"/>
                </a:cubicBezTo>
                <a:lnTo>
                  <a:pt x="2320" y="1462"/>
                </a:lnTo>
                <a:cubicBezTo>
                  <a:pt x="2320" y="1462"/>
                  <a:pt x="2320" y="1462"/>
                  <a:pt x="2321" y="1462"/>
                </a:cubicBezTo>
                <a:lnTo>
                  <a:pt x="2321" y="1462"/>
                </a:lnTo>
                <a:cubicBezTo>
                  <a:pt x="2324" y="1462"/>
                  <a:pt x="2328" y="1462"/>
                  <a:pt x="2331" y="1462"/>
                </a:cubicBezTo>
                <a:lnTo>
                  <a:pt x="2331" y="1462"/>
                </a:lnTo>
                <a:cubicBezTo>
                  <a:pt x="2332" y="1462"/>
                  <a:pt x="2332" y="1462"/>
                  <a:pt x="2333" y="1461"/>
                </a:cubicBezTo>
                <a:lnTo>
                  <a:pt x="2333" y="1461"/>
                </a:lnTo>
                <a:cubicBezTo>
                  <a:pt x="2336" y="1461"/>
                  <a:pt x="2339" y="1460"/>
                  <a:pt x="2343" y="1459"/>
                </a:cubicBezTo>
                <a:lnTo>
                  <a:pt x="2343" y="1459"/>
                </a:lnTo>
                <a:cubicBezTo>
                  <a:pt x="2343" y="1459"/>
                  <a:pt x="2344" y="1459"/>
                  <a:pt x="2345" y="1459"/>
                </a:cubicBezTo>
                <a:lnTo>
                  <a:pt x="2345" y="1459"/>
                </a:lnTo>
                <a:cubicBezTo>
                  <a:pt x="2348" y="1458"/>
                  <a:pt x="2351" y="1456"/>
                  <a:pt x="2354" y="1455"/>
                </a:cubicBezTo>
                <a:lnTo>
                  <a:pt x="2354" y="1455"/>
                </a:lnTo>
                <a:cubicBezTo>
                  <a:pt x="2354" y="1455"/>
                  <a:pt x="2355" y="1455"/>
                  <a:pt x="2356" y="1454"/>
                </a:cubicBezTo>
                <a:lnTo>
                  <a:pt x="2356" y="1454"/>
                </a:lnTo>
                <a:cubicBezTo>
                  <a:pt x="2359" y="1453"/>
                  <a:pt x="2362" y="1451"/>
                  <a:pt x="2364" y="1449"/>
                </a:cubicBezTo>
                <a:lnTo>
                  <a:pt x="2364" y="1449"/>
                </a:lnTo>
                <a:cubicBezTo>
                  <a:pt x="2364" y="1449"/>
                  <a:pt x="2365" y="1449"/>
                  <a:pt x="2366" y="1449"/>
                </a:cubicBezTo>
                <a:lnTo>
                  <a:pt x="2366" y="1449"/>
                </a:lnTo>
                <a:cubicBezTo>
                  <a:pt x="2369" y="1446"/>
                  <a:pt x="2372" y="1445"/>
                  <a:pt x="2374" y="1442"/>
                </a:cubicBezTo>
                <a:lnTo>
                  <a:pt x="2374" y="1442"/>
                </a:lnTo>
                <a:cubicBezTo>
                  <a:pt x="2374" y="1442"/>
                  <a:pt x="2375" y="1441"/>
                  <a:pt x="2376" y="1441"/>
                </a:cubicBezTo>
                <a:lnTo>
                  <a:pt x="2376" y="1441"/>
                </a:lnTo>
                <a:cubicBezTo>
                  <a:pt x="2379" y="1438"/>
                  <a:pt x="2382" y="1436"/>
                  <a:pt x="2384" y="1433"/>
                </a:cubicBezTo>
                <a:lnTo>
                  <a:pt x="2384" y="1433"/>
                </a:lnTo>
                <a:cubicBezTo>
                  <a:pt x="2384" y="1432"/>
                  <a:pt x="2385" y="1432"/>
                  <a:pt x="2386" y="1431"/>
                </a:cubicBezTo>
                <a:lnTo>
                  <a:pt x="2386" y="1431"/>
                </a:lnTo>
                <a:cubicBezTo>
                  <a:pt x="2388" y="1429"/>
                  <a:pt x="2390" y="1426"/>
                  <a:pt x="2393" y="1424"/>
                </a:cubicBezTo>
                <a:lnTo>
                  <a:pt x="2393" y="1424"/>
                </a:lnTo>
                <a:cubicBezTo>
                  <a:pt x="2393" y="1423"/>
                  <a:pt x="2393" y="1422"/>
                  <a:pt x="2393" y="1422"/>
                </a:cubicBezTo>
                <a:lnTo>
                  <a:pt x="2393" y="1422"/>
                </a:lnTo>
                <a:cubicBezTo>
                  <a:pt x="2396" y="1419"/>
                  <a:pt x="2398" y="1416"/>
                  <a:pt x="2400" y="1413"/>
                </a:cubicBezTo>
                <a:lnTo>
                  <a:pt x="2400" y="1413"/>
                </a:lnTo>
                <a:cubicBezTo>
                  <a:pt x="2401" y="1412"/>
                  <a:pt x="2402" y="1411"/>
                  <a:pt x="2402" y="1410"/>
                </a:cubicBezTo>
                <a:lnTo>
                  <a:pt x="2402" y="1410"/>
                </a:lnTo>
                <a:cubicBezTo>
                  <a:pt x="2404" y="1407"/>
                  <a:pt x="2406" y="1404"/>
                  <a:pt x="2409" y="1400"/>
                </a:cubicBezTo>
                <a:lnTo>
                  <a:pt x="2409" y="1400"/>
                </a:lnTo>
                <a:cubicBezTo>
                  <a:pt x="2409" y="1399"/>
                  <a:pt x="2410" y="1398"/>
                  <a:pt x="2410" y="1397"/>
                </a:cubicBezTo>
                <a:lnTo>
                  <a:pt x="2410" y="1397"/>
                </a:lnTo>
                <a:cubicBezTo>
                  <a:pt x="2412" y="1394"/>
                  <a:pt x="2414" y="1390"/>
                  <a:pt x="2416" y="1387"/>
                </a:cubicBezTo>
                <a:lnTo>
                  <a:pt x="2416" y="1387"/>
                </a:lnTo>
                <a:cubicBezTo>
                  <a:pt x="2416" y="1385"/>
                  <a:pt x="2417" y="1384"/>
                  <a:pt x="2417" y="1383"/>
                </a:cubicBezTo>
                <a:lnTo>
                  <a:pt x="2417" y="1383"/>
                </a:lnTo>
                <a:cubicBezTo>
                  <a:pt x="2419" y="1379"/>
                  <a:pt x="2420" y="1377"/>
                  <a:pt x="2422" y="1374"/>
                </a:cubicBezTo>
                <a:lnTo>
                  <a:pt x="2422" y="1374"/>
                </a:lnTo>
                <a:cubicBezTo>
                  <a:pt x="2422" y="1373"/>
                  <a:pt x="2423" y="1371"/>
                  <a:pt x="2423" y="1369"/>
                </a:cubicBezTo>
                <a:lnTo>
                  <a:pt x="2423" y="1369"/>
                </a:lnTo>
                <a:cubicBezTo>
                  <a:pt x="2425" y="1366"/>
                  <a:pt x="2426" y="1363"/>
                  <a:pt x="2427" y="1359"/>
                </a:cubicBezTo>
                <a:lnTo>
                  <a:pt x="2427" y="1359"/>
                </a:lnTo>
                <a:cubicBezTo>
                  <a:pt x="2428" y="1357"/>
                  <a:pt x="2429" y="1355"/>
                  <a:pt x="2430" y="1353"/>
                </a:cubicBezTo>
                <a:lnTo>
                  <a:pt x="2430" y="1353"/>
                </a:lnTo>
                <a:cubicBezTo>
                  <a:pt x="2431" y="1350"/>
                  <a:pt x="2432" y="1347"/>
                  <a:pt x="2433" y="1344"/>
                </a:cubicBezTo>
                <a:lnTo>
                  <a:pt x="2433" y="1344"/>
                </a:lnTo>
                <a:cubicBezTo>
                  <a:pt x="2434" y="1341"/>
                  <a:pt x="2434" y="1338"/>
                  <a:pt x="2435" y="1335"/>
                </a:cubicBezTo>
                <a:lnTo>
                  <a:pt x="2435" y="1335"/>
                </a:lnTo>
                <a:cubicBezTo>
                  <a:pt x="2436" y="1334"/>
                  <a:pt x="2436" y="1331"/>
                  <a:pt x="2437" y="1329"/>
                </a:cubicBezTo>
                <a:lnTo>
                  <a:pt x="2437" y="1329"/>
                </a:lnTo>
                <a:cubicBezTo>
                  <a:pt x="2438" y="1325"/>
                  <a:pt x="2439" y="1322"/>
                  <a:pt x="2440" y="1318"/>
                </a:cubicBezTo>
                <a:lnTo>
                  <a:pt x="2440" y="1318"/>
                </a:lnTo>
                <a:cubicBezTo>
                  <a:pt x="2440" y="1316"/>
                  <a:pt x="2441" y="1314"/>
                  <a:pt x="2442" y="1312"/>
                </a:cubicBezTo>
                <a:lnTo>
                  <a:pt x="2442" y="1312"/>
                </a:lnTo>
                <a:cubicBezTo>
                  <a:pt x="2442" y="1309"/>
                  <a:pt x="2443" y="1307"/>
                  <a:pt x="2443" y="1304"/>
                </a:cubicBezTo>
                <a:lnTo>
                  <a:pt x="2443" y="1304"/>
                </a:lnTo>
                <a:cubicBezTo>
                  <a:pt x="2443" y="1303"/>
                  <a:pt x="2444" y="1301"/>
                  <a:pt x="2444" y="1300"/>
                </a:cubicBezTo>
                <a:lnTo>
                  <a:pt x="2444" y="1300"/>
                </a:lnTo>
                <a:cubicBezTo>
                  <a:pt x="2445" y="1295"/>
                  <a:pt x="2446" y="1290"/>
                  <a:pt x="2447" y="1285"/>
                </a:cubicBezTo>
                <a:lnTo>
                  <a:pt x="2447" y="1285"/>
                </a:lnTo>
                <a:cubicBezTo>
                  <a:pt x="2447" y="1284"/>
                  <a:pt x="2447" y="1283"/>
                  <a:pt x="2447" y="1281"/>
                </a:cubicBezTo>
                <a:lnTo>
                  <a:pt x="2447" y="1281"/>
                </a:lnTo>
                <a:cubicBezTo>
                  <a:pt x="2448" y="1276"/>
                  <a:pt x="2449" y="1271"/>
                  <a:pt x="2449" y="1266"/>
                </a:cubicBezTo>
                <a:lnTo>
                  <a:pt x="2449" y="1266"/>
                </a:lnTo>
                <a:cubicBezTo>
                  <a:pt x="2449" y="1265"/>
                  <a:pt x="2449" y="1264"/>
                  <a:pt x="2450" y="1263"/>
                </a:cubicBezTo>
                <a:lnTo>
                  <a:pt x="2450" y="1263"/>
                </a:lnTo>
                <a:cubicBezTo>
                  <a:pt x="2459" y="1181"/>
                  <a:pt x="2444" y="1098"/>
                  <a:pt x="2400" y="1070"/>
                </a:cubicBezTo>
                <a:lnTo>
                  <a:pt x="2400" y="1070"/>
                </a:lnTo>
                <a:cubicBezTo>
                  <a:pt x="2355" y="1040"/>
                  <a:pt x="2318" y="1052"/>
                  <a:pt x="2292" y="1070"/>
                </a:cubicBezTo>
                <a:lnTo>
                  <a:pt x="2292" y="1070"/>
                </a:lnTo>
                <a:cubicBezTo>
                  <a:pt x="2289" y="1050"/>
                  <a:pt x="2286" y="1036"/>
                  <a:pt x="2285" y="1032"/>
                </a:cubicBezTo>
                <a:lnTo>
                  <a:pt x="2285" y="1032"/>
                </a:lnTo>
                <a:cubicBezTo>
                  <a:pt x="2283" y="1027"/>
                  <a:pt x="2281" y="1020"/>
                  <a:pt x="2280" y="1013"/>
                </a:cubicBezTo>
                <a:lnTo>
                  <a:pt x="2280" y="1013"/>
                </a:lnTo>
                <a:lnTo>
                  <a:pt x="2280" y="1013"/>
                </a:lnTo>
                <a:cubicBezTo>
                  <a:pt x="2279" y="1012"/>
                  <a:pt x="2279" y="1010"/>
                  <a:pt x="2279" y="1007"/>
                </a:cubicBezTo>
                <a:lnTo>
                  <a:pt x="2279" y="1007"/>
                </a:lnTo>
                <a:cubicBezTo>
                  <a:pt x="2278" y="1003"/>
                  <a:pt x="2278" y="1000"/>
                  <a:pt x="2278" y="995"/>
                </a:cubicBezTo>
                <a:lnTo>
                  <a:pt x="2278" y="995"/>
                </a:lnTo>
                <a:cubicBezTo>
                  <a:pt x="2279" y="986"/>
                  <a:pt x="2283" y="977"/>
                  <a:pt x="2287" y="967"/>
                </a:cubicBezTo>
                <a:lnTo>
                  <a:pt x="2287" y="967"/>
                </a:lnTo>
                <a:cubicBezTo>
                  <a:pt x="2329" y="848"/>
                  <a:pt x="2299" y="706"/>
                  <a:pt x="2219" y="609"/>
                </a:cubicBezTo>
                <a:lnTo>
                  <a:pt x="2219" y="609"/>
                </a:lnTo>
                <a:lnTo>
                  <a:pt x="2219" y="609"/>
                </a:lnTo>
                <a:lnTo>
                  <a:pt x="2219" y="609"/>
                </a:lnTo>
                <a:cubicBezTo>
                  <a:pt x="2213" y="603"/>
                  <a:pt x="2208" y="597"/>
                  <a:pt x="2202" y="591"/>
                </a:cubicBezTo>
                <a:lnTo>
                  <a:pt x="2202" y="591"/>
                </a:lnTo>
                <a:cubicBezTo>
                  <a:pt x="2202" y="591"/>
                  <a:pt x="2202" y="590"/>
                  <a:pt x="2201" y="590"/>
                </a:cubicBezTo>
                <a:lnTo>
                  <a:pt x="2201" y="590"/>
                </a:lnTo>
                <a:cubicBezTo>
                  <a:pt x="2196" y="584"/>
                  <a:pt x="2190" y="578"/>
                  <a:pt x="2184" y="573"/>
                </a:cubicBezTo>
                <a:lnTo>
                  <a:pt x="2184" y="573"/>
                </a:lnTo>
                <a:cubicBezTo>
                  <a:pt x="2183" y="573"/>
                  <a:pt x="2183" y="573"/>
                  <a:pt x="2183" y="573"/>
                </a:cubicBezTo>
                <a:lnTo>
                  <a:pt x="2183" y="573"/>
                </a:lnTo>
                <a:cubicBezTo>
                  <a:pt x="2177" y="567"/>
                  <a:pt x="2171" y="562"/>
                  <a:pt x="2163" y="557"/>
                </a:cubicBezTo>
                <a:lnTo>
                  <a:pt x="2163" y="557"/>
                </a:lnTo>
                <a:cubicBezTo>
                  <a:pt x="2181" y="535"/>
                  <a:pt x="2197" y="513"/>
                  <a:pt x="2212" y="487"/>
                </a:cubicBezTo>
                <a:lnTo>
                  <a:pt x="2212" y="487"/>
                </a:lnTo>
                <a:cubicBezTo>
                  <a:pt x="2316" y="315"/>
                  <a:pt x="2163" y="144"/>
                  <a:pt x="2163" y="144"/>
                </a:cubicBezTo>
                <a:lnTo>
                  <a:pt x="2163" y="144"/>
                </a:lnTo>
                <a:cubicBezTo>
                  <a:pt x="2163" y="144"/>
                  <a:pt x="2164" y="217"/>
                  <a:pt x="2118" y="263"/>
                </a:cubicBezTo>
                <a:lnTo>
                  <a:pt x="2118" y="263"/>
                </a:lnTo>
                <a:cubicBezTo>
                  <a:pt x="2118" y="263"/>
                  <a:pt x="2084" y="39"/>
                  <a:pt x="1985" y="0"/>
                </a:cubicBezTo>
                <a:lnTo>
                  <a:pt x="1985" y="0"/>
                </a:lnTo>
                <a:cubicBezTo>
                  <a:pt x="1985" y="0"/>
                  <a:pt x="1972" y="126"/>
                  <a:pt x="1939" y="166"/>
                </a:cubicBezTo>
                <a:lnTo>
                  <a:pt x="1925" y="54"/>
                </a:lnTo>
                <a:lnTo>
                  <a:pt x="1925" y="54"/>
                </a:lnTo>
                <a:lnTo>
                  <a:pt x="1925" y="54"/>
                </a:lnTo>
                <a:lnTo>
                  <a:pt x="1925" y="54"/>
                </a:lnTo>
                <a:lnTo>
                  <a:pt x="1925" y="55"/>
                </a:lnTo>
                <a:lnTo>
                  <a:pt x="1925" y="55"/>
                </a:lnTo>
                <a:lnTo>
                  <a:pt x="1924" y="55"/>
                </a:lnTo>
                <a:lnTo>
                  <a:pt x="1924" y="55"/>
                </a:lnTo>
                <a:cubicBezTo>
                  <a:pt x="1913" y="66"/>
                  <a:pt x="1823" y="150"/>
                  <a:pt x="1743" y="179"/>
                </a:cubicBezTo>
                <a:lnTo>
                  <a:pt x="1743" y="179"/>
                </a:lnTo>
                <a:lnTo>
                  <a:pt x="1743" y="179"/>
                </a:lnTo>
                <a:lnTo>
                  <a:pt x="1743" y="179"/>
                </a:lnTo>
                <a:cubicBezTo>
                  <a:pt x="1721" y="186"/>
                  <a:pt x="1700" y="190"/>
                  <a:pt x="1682" y="188"/>
                </a:cubicBezTo>
                <a:lnTo>
                  <a:pt x="1682" y="188"/>
                </a:lnTo>
                <a:cubicBezTo>
                  <a:pt x="1592" y="176"/>
                  <a:pt x="1018" y="7"/>
                  <a:pt x="921" y="453"/>
                </a:cubicBezTo>
                <a:lnTo>
                  <a:pt x="921" y="453"/>
                </a:lnTo>
                <a:cubicBezTo>
                  <a:pt x="921" y="453"/>
                  <a:pt x="921" y="454"/>
                  <a:pt x="921" y="455"/>
                </a:cubicBezTo>
                <a:lnTo>
                  <a:pt x="921" y="455"/>
                </a:lnTo>
                <a:cubicBezTo>
                  <a:pt x="920" y="461"/>
                  <a:pt x="919" y="466"/>
                  <a:pt x="918" y="472"/>
                </a:cubicBezTo>
                <a:lnTo>
                  <a:pt x="918" y="472"/>
                </a:lnTo>
                <a:cubicBezTo>
                  <a:pt x="917" y="474"/>
                  <a:pt x="917" y="476"/>
                  <a:pt x="917" y="477"/>
                </a:cubicBezTo>
                <a:lnTo>
                  <a:pt x="917" y="477"/>
                </a:lnTo>
                <a:cubicBezTo>
                  <a:pt x="915" y="485"/>
                  <a:pt x="914" y="493"/>
                  <a:pt x="913" y="501"/>
                </a:cubicBezTo>
                <a:lnTo>
                  <a:pt x="913" y="501"/>
                </a:lnTo>
                <a:lnTo>
                  <a:pt x="913" y="501"/>
                </a:lnTo>
                <a:lnTo>
                  <a:pt x="913" y="501"/>
                </a:lnTo>
                <a:lnTo>
                  <a:pt x="913" y="501"/>
                </a:lnTo>
                <a:lnTo>
                  <a:pt x="913" y="501"/>
                </a:lnTo>
                <a:cubicBezTo>
                  <a:pt x="912" y="500"/>
                  <a:pt x="912" y="500"/>
                  <a:pt x="911" y="500"/>
                </a:cubicBezTo>
                <a:lnTo>
                  <a:pt x="911" y="500"/>
                </a:lnTo>
                <a:cubicBezTo>
                  <a:pt x="911" y="500"/>
                  <a:pt x="911" y="500"/>
                  <a:pt x="910" y="500"/>
                </a:cubicBezTo>
                <a:lnTo>
                  <a:pt x="910" y="500"/>
                </a:lnTo>
                <a:lnTo>
                  <a:pt x="908" y="500"/>
                </a:lnTo>
                <a:lnTo>
                  <a:pt x="908" y="500"/>
                </a:lnTo>
                <a:cubicBezTo>
                  <a:pt x="907" y="500"/>
                  <a:pt x="907" y="500"/>
                  <a:pt x="907" y="500"/>
                </a:cubicBezTo>
                <a:lnTo>
                  <a:pt x="907" y="500"/>
                </a:lnTo>
                <a:cubicBezTo>
                  <a:pt x="905" y="500"/>
                  <a:pt x="904" y="500"/>
                  <a:pt x="904" y="500"/>
                </a:cubicBezTo>
                <a:lnTo>
                  <a:pt x="904" y="500"/>
                </a:lnTo>
                <a:cubicBezTo>
                  <a:pt x="903" y="500"/>
                  <a:pt x="903" y="500"/>
                  <a:pt x="903" y="500"/>
                </a:cubicBezTo>
                <a:lnTo>
                  <a:pt x="903" y="500"/>
                </a:lnTo>
                <a:cubicBezTo>
                  <a:pt x="901" y="500"/>
                  <a:pt x="899" y="500"/>
                  <a:pt x="897" y="500"/>
                </a:cubicBezTo>
                <a:lnTo>
                  <a:pt x="897" y="500"/>
                </a:lnTo>
                <a:cubicBezTo>
                  <a:pt x="897" y="500"/>
                  <a:pt x="897" y="500"/>
                  <a:pt x="896" y="500"/>
                </a:cubicBezTo>
                <a:lnTo>
                  <a:pt x="896" y="500"/>
                </a:lnTo>
                <a:cubicBezTo>
                  <a:pt x="894" y="500"/>
                  <a:pt x="893" y="500"/>
                  <a:pt x="892" y="500"/>
                </a:cubicBezTo>
                <a:lnTo>
                  <a:pt x="892" y="500"/>
                </a:lnTo>
                <a:cubicBezTo>
                  <a:pt x="891" y="500"/>
                  <a:pt x="890" y="500"/>
                  <a:pt x="890" y="500"/>
                </a:cubicBezTo>
                <a:lnTo>
                  <a:pt x="890" y="500"/>
                </a:lnTo>
                <a:cubicBezTo>
                  <a:pt x="887" y="500"/>
                  <a:pt x="885" y="500"/>
                  <a:pt x="883" y="500"/>
                </a:cubicBezTo>
                <a:lnTo>
                  <a:pt x="883" y="500"/>
                </a:lnTo>
                <a:cubicBezTo>
                  <a:pt x="883" y="500"/>
                  <a:pt x="882" y="500"/>
                  <a:pt x="881" y="500"/>
                </a:cubicBezTo>
                <a:lnTo>
                  <a:pt x="881" y="500"/>
                </a:lnTo>
                <a:cubicBezTo>
                  <a:pt x="879" y="501"/>
                  <a:pt x="877" y="501"/>
                  <a:pt x="875" y="501"/>
                </a:cubicBezTo>
                <a:lnTo>
                  <a:pt x="875" y="501"/>
                </a:lnTo>
                <a:cubicBezTo>
                  <a:pt x="874" y="501"/>
                  <a:pt x="874" y="501"/>
                  <a:pt x="873" y="501"/>
                </a:cubicBezTo>
                <a:lnTo>
                  <a:pt x="873" y="501"/>
                </a:lnTo>
                <a:cubicBezTo>
                  <a:pt x="870" y="502"/>
                  <a:pt x="868" y="502"/>
                  <a:pt x="865" y="502"/>
                </a:cubicBezTo>
                <a:lnTo>
                  <a:pt x="865" y="502"/>
                </a:lnTo>
                <a:cubicBezTo>
                  <a:pt x="864" y="502"/>
                  <a:pt x="864" y="502"/>
                  <a:pt x="863" y="502"/>
                </a:cubicBezTo>
                <a:lnTo>
                  <a:pt x="863" y="502"/>
                </a:lnTo>
                <a:cubicBezTo>
                  <a:pt x="861" y="503"/>
                  <a:pt x="859" y="503"/>
                  <a:pt x="856" y="503"/>
                </a:cubicBezTo>
                <a:lnTo>
                  <a:pt x="856" y="503"/>
                </a:lnTo>
                <a:cubicBezTo>
                  <a:pt x="855" y="503"/>
                  <a:pt x="854" y="503"/>
                  <a:pt x="853" y="503"/>
                </a:cubicBezTo>
                <a:lnTo>
                  <a:pt x="853" y="503"/>
                </a:lnTo>
                <a:cubicBezTo>
                  <a:pt x="850" y="504"/>
                  <a:pt x="847" y="504"/>
                  <a:pt x="845" y="505"/>
                </a:cubicBezTo>
                <a:lnTo>
                  <a:pt x="845" y="505"/>
                </a:lnTo>
                <a:cubicBezTo>
                  <a:pt x="844" y="505"/>
                  <a:pt x="843" y="505"/>
                  <a:pt x="842" y="506"/>
                </a:cubicBezTo>
                <a:lnTo>
                  <a:pt x="842" y="506"/>
                </a:lnTo>
                <a:cubicBezTo>
                  <a:pt x="840" y="506"/>
                  <a:pt x="837" y="506"/>
                  <a:pt x="834" y="507"/>
                </a:cubicBezTo>
                <a:lnTo>
                  <a:pt x="834" y="507"/>
                </a:lnTo>
                <a:cubicBezTo>
                  <a:pt x="833" y="507"/>
                  <a:pt x="832" y="507"/>
                  <a:pt x="830" y="508"/>
                </a:cubicBezTo>
                <a:lnTo>
                  <a:pt x="830" y="508"/>
                </a:lnTo>
                <a:cubicBezTo>
                  <a:pt x="828" y="508"/>
                  <a:pt x="825" y="509"/>
                  <a:pt x="823" y="510"/>
                </a:cubicBezTo>
                <a:lnTo>
                  <a:pt x="823" y="510"/>
                </a:lnTo>
                <a:cubicBezTo>
                  <a:pt x="822" y="510"/>
                  <a:pt x="821" y="510"/>
                  <a:pt x="820" y="510"/>
                </a:cubicBezTo>
                <a:lnTo>
                  <a:pt x="820" y="510"/>
                </a:lnTo>
                <a:cubicBezTo>
                  <a:pt x="817" y="512"/>
                  <a:pt x="813" y="513"/>
                  <a:pt x="810" y="513"/>
                </a:cubicBezTo>
                <a:lnTo>
                  <a:pt x="810" y="513"/>
                </a:lnTo>
                <a:cubicBezTo>
                  <a:pt x="809" y="514"/>
                  <a:pt x="807" y="514"/>
                  <a:pt x="806" y="515"/>
                </a:cubicBezTo>
                <a:lnTo>
                  <a:pt x="806" y="515"/>
                </a:lnTo>
                <a:cubicBezTo>
                  <a:pt x="803" y="515"/>
                  <a:pt x="801" y="517"/>
                  <a:pt x="798" y="517"/>
                </a:cubicBezTo>
                <a:lnTo>
                  <a:pt x="798" y="517"/>
                </a:lnTo>
                <a:cubicBezTo>
                  <a:pt x="797" y="518"/>
                  <a:pt x="796" y="518"/>
                  <a:pt x="795" y="518"/>
                </a:cubicBezTo>
                <a:lnTo>
                  <a:pt x="795" y="518"/>
                </a:lnTo>
                <a:cubicBezTo>
                  <a:pt x="792" y="520"/>
                  <a:pt x="788" y="522"/>
                  <a:pt x="784" y="523"/>
                </a:cubicBezTo>
                <a:lnTo>
                  <a:pt x="784" y="523"/>
                </a:lnTo>
                <a:cubicBezTo>
                  <a:pt x="783" y="523"/>
                  <a:pt x="782" y="524"/>
                  <a:pt x="781" y="524"/>
                </a:cubicBezTo>
                <a:lnTo>
                  <a:pt x="781" y="524"/>
                </a:lnTo>
                <a:cubicBezTo>
                  <a:pt x="778" y="525"/>
                  <a:pt x="775" y="527"/>
                  <a:pt x="773" y="528"/>
                </a:cubicBezTo>
                <a:lnTo>
                  <a:pt x="773" y="528"/>
                </a:lnTo>
                <a:cubicBezTo>
                  <a:pt x="772" y="529"/>
                  <a:pt x="770" y="529"/>
                  <a:pt x="769" y="530"/>
                </a:cubicBezTo>
                <a:lnTo>
                  <a:pt x="769" y="530"/>
                </a:lnTo>
                <a:cubicBezTo>
                  <a:pt x="765" y="532"/>
                  <a:pt x="762" y="534"/>
                  <a:pt x="758" y="535"/>
                </a:cubicBezTo>
                <a:lnTo>
                  <a:pt x="758" y="535"/>
                </a:lnTo>
                <a:cubicBezTo>
                  <a:pt x="757" y="536"/>
                  <a:pt x="756" y="537"/>
                  <a:pt x="754" y="538"/>
                </a:cubicBezTo>
                <a:lnTo>
                  <a:pt x="754" y="538"/>
                </a:lnTo>
                <a:cubicBezTo>
                  <a:pt x="752" y="539"/>
                  <a:pt x="749" y="541"/>
                  <a:pt x="746" y="543"/>
                </a:cubicBezTo>
                <a:lnTo>
                  <a:pt x="746" y="543"/>
                </a:lnTo>
                <a:cubicBezTo>
                  <a:pt x="745" y="544"/>
                  <a:pt x="744" y="544"/>
                  <a:pt x="743" y="545"/>
                </a:cubicBezTo>
                <a:lnTo>
                  <a:pt x="743" y="545"/>
                </a:lnTo>
                <a:cubicBezTo>
                  <a:pt x="739" y="547"/>
                  <a:pt x="735" y="550"/>
                  <a:pt x="732" y="553"/>
                </a:cubicBezTo>
                <a:lnTo>
                  <a:pt x="732" y="553"/>
                </a:lnTo>
                <a:cubicBezTo>
                  <a:pt x="731" y="553"/>
                  <a:pt x="730" y="554"/>
                  <a:pt x="729" y="555"/>
                </a:cubicBezTo>
                <a:lnTo>
                  <a:pt x="729" y="555"/>
                </a:lnTo>
                <a:cubicBezTo>
                  <a:pt x="726" y="557"/>
                  <a:pt x="723" y="559"/>
                  <a:pt x="721" y="561"/>
                </a:cubicBezTo>
                <a:lnTo>
                  <a:pt x="721" y="561"/>
                </a:lnTo>
                <a:cubicBezTo>
                  <a:pt x="719" y="563"/>
                  <a:pt x="718" y="563"/>
                  <a:pt x="716" y="564"/>
                </a:cubicBezTo>
                <a:lnTo>
                  <a:pt x="716" y="564"/>
                </a:lnTo>
                <a:cubicBezTo>
                  <a:pt x="713" y="567"/>
                  <a:pt x="709" y="571"/>
                  <a:pt x="706" y="574"/>
                </a:cubicBezTo>
                <a:lnTo>
                  <a:pt x="706" y="574"/>
                </a:lnTo>
                <a:lnTo>
                  <a:pt x="706" y="574"/>
                </a:lnTo>
                <a:cubicBezTo>
                  <a:pt x="665" y="613"/>
                  <a:pt x="628" y="673"/>
                  <a:pt x="611" y="764"/>
                </a:cubicBezTo>
                <a:lnTo>
                  <a:pt x="611" y="764"/>
                </a:lnTo>
                <a:cubicBezTo>
                  <a:pt x="611" y="764"/>
                  <a:pt x="608" y="772"/>
                  <a:pt x="605" y="787"/>
                </a:cubicBezTo>
                <a:lnTo>
                  <a:pt x="605" y="787"/>
                </a:lnTo>
                <a:cubicBezTo>
                  <a:pt x="605" y="788"/>
                  <a:pt x="605" y="788"/>
                  <a:pt x="605" y="789"/>
                </a:cubicBezTo>
                <a:lnTo>
                  <a:pt x="605" y="789"/>
                </a:lnTo>
                <a:cubicBezTo>
                  <a:pt x="605" y="790"/>
                  <a:pt x="604" y="791"/>
                  <a:pt x="604" y="792"/>
                </a:cubicBezTo>
                <a:lnTo>
                  <a:pt x="604" y="792"/>
                </a:lnTo>
                <a:cubicBezTo>
                  <a:pt x="604" y="793"/>
                  <a:pt x="604" y="794"/>
                  <a:pt x="603" y="795"/>
                </a:cubicBezTo>
                <a:lnTo>
                  <a:pt x="603" y="795"/>
                </a:lnTo>
                <a:cubicBezTo>
                  <a:pt x="603" y="796"/>
                  <a:pt x="603" y="798"/>
                  <a:pt x="603" y="799"/>
                </a:cubicBezTo>
                <a:lnTo>
                  <a:pt x="603" y="799"/>
                </a:lnTo>
                <a:cubicBezTo>
                  <a:pt x="603" y="800"/>
                  <a:pt x="603" y="801"/>
                  <a:pt x="603" y="802"/>
                </a:cubicBezTo>
                <a:lnTo>
                  <a:pt x="603" y="802"/>
                </a:lnTo>
                <a:cubicBezTo>
                  <a:pt x="603" y="803"/>
                  <a:pt x="602" y="805"/>
                  <a:pt x="602" y="806"/>
                </a:cubicBezTo>
                <a:lnTo>
                  <a:pt x="602" y="806"/>
                </a:lnTo>
                <a:cubicBezTo>
                  <a:pt x="602" y="808"/>
                  <a:pt x="602" y="810"/>
                  <a:pt x="602" y="813"/>
                </a:cubicBezTo>
                <a:lnTo>
                  <a:pt x="602" y="813"/>
                </a:lnTo>
                <a:cubicBezTo>
                  <a:pt x="602" y="814"/>
                  <a:pt x="602" y="815"/>
                  <a:pt x="602" y="815"/>
                </a:cubicBezTo>
                <a:lnTo>
                  <a:pt x="602" y="815"/>
                </a:lnTo>
                <a:cubicBezTo>
                  <a:pt x="602" y="817"/>
                  <a:pt x="601" y="819"/>
                  <a:pt x="601" y="821"/>
                </a:cubicBezTo>
                <a:lnTo>
                  <a:pt x="601" y="821"/>
                </a:lnTo>
                <a:cubicBezTo>
                  <a:pt x="601" y="823"/>
                  <a:pt x="601" y="824"/>
                  <a:pt x="601" y="825"/>
                </a:cubicBezTo>
                <a:lnTo>
                  <a:pt x="601" y="825"/>
                </a:lnTo>
                <a:cubicBezTo>
                  <a:pt x="601" y="827"/>
                  <a:pt x="601" y="829"/>
                  <a:pt x="601" y="831"/>
                </a:cubicBezTo>
                <a:lnTo>
                  <a:pt x="601" y="831"/>
                </a:lnTo>
                <a:cubicBezTo>
                  <a:pt x="601" y="832"/>
                  <a:pt x="601" y="833"/>
                  <a:pt x="601" y="835"/>
                </a:cubicBezTo>
                <a:lnTo>
                  <a:pt x="601" y="835"/>
                </a:lnTo>
                <a:cubicBezTo>
                  <a:pt x="601" y="837"/>
                  <a:pt x="601" y="839"/>
                  <a:pt x="601" y="842"/>
                </a:cubicBezTo>
                <a:lnTo>
                  <a:pt x="601" y="842"/>
                </a:lnTo>
                <a:cubicBezTo>
                  <a:pt x="601" y="843"/>
                  <a:pt x="601" y="844"/>
                  <a:pt x="601" y="845"/>
                </a:cubicBezTo>
                <a:lnTo>
                  <a:pt x="601" y="845"/>
                </a:lnTo>
                <a:cubicBezTo>
                  <a:pt x="601" y="852"/>
                  <a:pt x="601" y="860"/>
                  <a:pt x="602" y="868"/>
                </a:cubicBezTo>
                <a:lnTo>
                  <a:pt x="602" y="868"/>
                </a:lnTo>
                <a:cubicBezTo>
                  <a:pt x="602" y="869"/>
                  <a:pt x="602" y="870"/>
                  <a:pt x="602" y="871"/>
                </a:cubicBezTo>
                <a:lnTo>
                  <a:pt x="602" y="871"/>
                </a:lnTo>
                <a:cubicBezTo>
                  <a:pt x="602" y="874"/>
                  <a:pt x="602" y="877"/>
                  <a:pt x="602" y="880"/>
                </a:cubicBezTo>
                <a:lnTo>
                  <a:pt x="602" y="880"/>
                </a:lnTo>
                <a:cubicBezTo>
                  <a:pt x="603" y="881"/>
                  <a:pt x="603" y="883"/>
                  <a:pt x="603" y="884"/>
                </a:cubicBezTo>
                <a:lnTo>
                  <a:pt x="603" y="884"/>
                </a:lnTo>
                <a:cubicBezTo>
                  <a:pt x="603" y="887"/>
                  <a:pt x="603" y="891"/>
                  <a:pt x="604" y="894"/>
                </a:cubicBezTo>
                <a:lnTo>
                  <a:pt x="604" y="894"/>
                </a:lnTo>
                <a:cubicBezTo>
                  <a:pt x="604" y="896"/>
                  <a:pt x="604" y="897"/>
                  <a:pt x="604" y="898"/>
                </a:cubicBezTo>
                <a:lnTo>
                  <a:pt x="604" y="898"/>
                </a:lnTo>
                <a:cubicBezTo>
                  <a:pt x="605" y="902"/>
                  <a:pt x="605" y="907"/>
                  <a:pt x="606" y="911"/>
                </a:cubicBezTo>
                <a:lnTo>
                  <a:pt x="606" y="911"/>
                </a:lnTo>
                <a:cubicBezTo>
                  <a:pt x="607" y="911"/>
                  <a:pt x="607" y="912"/>
                  <a:pt x="607" y="912"/>
                </a:cubicBezTo>
                <a:lnTo>
                  <a:pt x="607" y="912"/>
                </a:lnTo>
                <a:cubicBezTo>
                  <a:pt x="607" y="917"/>
                  <a:pt x="608" y="922"/>
                  <a:pt x="609" y="927"/>
                </a:cubicBezTo>
                <a:lnTo>
                  <a:pt x="609" y="927"/>
                </a:lnTo>
                <a:cubicBezTo>
                  <a:pt x="609" y="928"/>
                  <a:pt x="609" y="929"/>
                  <a:pt x="610" y="930"/>
                </a:cubicBezTo>
                <a:lnTo>
                  <a:pt x="610" y="930"/>
                </a:lnTo>
                <a:cubicBezTo>
                  <a:pt x="610" y="934"/>
                  <a:pt x="611" y="939"/>
                  <a:pt x="612" y="942"/>
                </a:cubicBezTo>
                <a:lnTo>
                  <a:pt x="612" y="942"/>
                </a:lnTo>
                <a:cubicBezTo>
                  <a:pt x="612" y="944"/>
                  <a:pt x="612" y="946"/>
                  <a:pt x="612" y="947"/>
                </a:cubicBezTo>
                <a:lnTo>
                  <a:pt x="612" y="947"/>
                </a:lnTo>
                <a:cubicBezTo>
                  <a:pt x="613" y="951"/>
                  <a:pt x="614" y="955"/>
                  <a:pt x="615" y="960"/>
                </a:cubicBezTo>
                <a:lnTo>
                  <a:pt x="615" y="960"/>
                </a:lnTo>
                <a:cubicBezTo>
                  <a:pt x="615" y="961"/>
                  <a:pt x="616" y="962"/>
                  <a:pt x="616" y="964"/>
                </a:cubicBezTo>
                <a:lnTo>
                  <a:pt x="616" y="964"/>
                </a:lnTo>
                <a:cubicBezTo>
                  <a:pt x="617" y="969"/>
                  <a:pt x="618" y="974"/>
                  <a:pt x="620" y="978"/>
                </a:cubicBezTo>
                <a:lnTo>
                  <a:pt x="620" y="978"/>
                </a:lnTo>
                <a:cubicBezTo>
                  <a:pt x="620" y="980"/>
                  <a:pt x="620" y="981"/>
                  <a:pt x="620" y="981"/>
                </a:cubicBezTo>
                <a:lnTo>
                  <a:pt x="620" y="981"/>
                </a:lnTo>
                <a:cubicBezTo>
                  <a:pt x="622" y="987"/>
                  <a:pt x="623" y="994"/>
                  <a:pt x="625" y="1000"/>
                </a:cubicBezTo>
                <a:lnTo>
                  <a:pt x="625" y="1000"/>
                </a:lnTo>
                <a:cubicBezTo>
                  <a:pt x="625" y="1001"/>
                  <a:pt x="626" y="1002"/>
                  <a:pt x="626" y="1003"/>
                </a:cubicBezTo>
                <a:lnTo>
                  <a:pt x="626" y="1003"/>
                </a:lnTo>
                <a:cubicBezTo>
                  <a:pt x="628" y="1008"/>
                  <a:pt x="629" y="1013"/>
                  <a:pt x="631" y="1018"/>
                </a:cubicBezTo>
                <a:lnTo>
                  <a:pt x="631" y="1018"/>
                </a:lnTo>
                <a:cubicBezTo>
                  <a:pt x="631" y="1020"/>
                  <a:pt x="632" y="1022"/>
                  <a:pt x="632" y="1024"/>
                </a:cubicBezTo>
                <a:lnTo>
                  <a:pt x="632" y="1024"/>
                </a:lnTo>
                <a:cubicBezTo>
                  <a:pt x="634" y="1029"/>
                  <a:pt x="635" y="1033"/>
                  <a:pt x="637" y="1038"/>
                </a:cubicBezTo>
                <a:lnTo>
                  <a:pt x="637" y="1038"/>
                </a:lnTo>
                <a:cubicBezTo>
                  <a:pt x="638" y="1040"/>
                  <a:pt x="638" y="1042"/>
                  <a:pt x="639" y="1044"/>
                </a:cubicBezTo>
                <a:lnTo>
                  <a:pt x="639" y="1044"/>
                </a:lnTo>
                <a:cubicBezTo>
                  <a:pt x="641" y="1050"/>
                  <a:pt x="642" y="1054"/>
                  <a:pt x="644" y="1060"/>
                </a:cubicBezTo>
                <a:lnTo>
                  <a:pt x="644" y="1060"/>
                </a:lnTo>
                <a:cubicBezTo>
                  <a:pt x="645" y="1061"/>
                  <a:pt x="645" y="1063"/>
                  <a:pt x="647" y="1065"/>
                </a:cubicBezTo>
                <a:lnTo>
                  <a:pt x="647" y="1065"/>
                </a:lnTo>
                <a:cubicBezTo>
                  <a:pt x="649" y="1072"/>
                  <a:pt x="651" y="1079"/>
                  <a:pt x="654" y="1086"/>
                </a:cubicBezTo>
                <a:lnTo>
                  <a:pt x="654" y="1086"/>
                </a:lnTo>
                <a:cubicBezTo>
                  <a:pt x="655" y="1087"/>
                  <a:pt x="655" y="1088"/>
                  <a:pt x="655" y="1089"/>
                </a:cubicBezTo>
                <a:lnTo>
                  <a:pt x="655" y="1089"/>
                </a:lnTo>
                <a:cubicBezTo>
                  <a:pt x="658" y="1095"/>
                  <a:pt x="660" y="1101"/>
                  <a:pt x="663" y="1108"/>
                </a:cubicBezTo>
                <a:lnTo>
                  <a:pt x="663" y="1108"/>
                </a:lnTo>
                <a:cubicBezTo>
                  <a:pt x="664" y="1110"/>
                  <a:pt x="665" y="1112"/>
                  <a:pt x="666" y="1115"/>
                </a:cubicBezTo>
                <a:lnTo>
                  <a:pt x="666" y="1115"/>
                </a:lnTo>
                <a:cubicBezTo>
                  <a:pt x="668" y="1120"/>
                  <a:pt x="670" y="1124"/>
                  <a:pt x="672" y="1130"/>
                </a:cubicBezTo>
                <a:lnTo>
                  <a:pt x="672" y="1130"/>
                </a:lnTo>
                <a:cubicBezTo>
                  <a:pt x="673" y="1133"/>
                  <a:pt x="675" y="1135"/>
                  <a:pt x="676" y="1138"/>
                </a:cubicBezTo>
                <a:lnTo>
                  <a:pt x="676" y="1138"/>
                </a:lnTo>
                <a:cubicBezTo>
                  <a:pt x="678" y="1143"/>
                  <a:pt x="681" y="1149"/>
                  <a:pt x="683" y="1154"/>
                </a:cubicBezTo>
                <a:lnTo>
                  <a:pt x="683" y="1154"/>
                </a:lnTo>
                <a:cubicBezTo>
                  <a:pt x="685" y="1157"/>
                  <a:pt x="686" y="1159"/>
                  <a:pt x="687" y="1162"/>
                </a:cubicBezTo>
                <a:lnTo>
                  <a:pt x="687" y="1162"/>
                </a:lnTo>
                <a:cubicBezTo>
                  <a:pt x="691" y="1169"/>
                  <a:pt x="695" y="1177"/>
                  <a:pt x="699" y="1186"/>
                </a:cubicBezTo>
                <a:lnTo>
                  <a:pt x="699" y="1186"/>
                </a:lnTo>
                <a:cubicBezTo>
                  <a:pt x="699" y="1186"/>
                  <a:pt x="706" y="1177"/>
                  <a:pt x="719" y="1168"/>
                </a:cubicBezTo>
                <a:lnTo>
                  <a:pt x="719" y="1168"/>
                </a:lnTo>
                <a:cubicBezTo>
                  <a:pt x="685" y="1204"/>
                  <a:pt x="662" y="1259"/>
                  <a:pt x="660" y="1318"/>
                </a:cubicBezTo>
                <a:lnTo>
                  <a:pt x="660" y="1318"/>
                </a:lnTo>
                <a:cubicBezTo>
                  <a:pt x="660" y="1319"/>
                  <a:pt x="660" y="1320"/>
                  <a:pt x="660" y="1320"/>
                </a:cubicBezTo>
                <a:lnTo>
                  <a:pt x="660" y="1320"/>
                </a:lnTo>
                <a:cubicBezTo>
                  <a:pt x="660" y="1324"/>
                  <a:pt x="659" y="1328"/>
                  <a:pt x="659" y="1333"/>
                </a:cubicBezTo>
                <a:lnTo>
                  <a:pt x="659" y="1333"/>
                </a:lnTo>
                <a:cubicBezTo>
                  <a:pt x="659" y="1334"/>
                  <a:pt x="659" y="1334"/>
                  <a:pt x="659" y="1335"/>
                </a:cubicBezTo>
                <a:lnTo>
                  <a:pt x="659" y="1335"/>
                </a:lnTo>
                <a:cubicBezTo>
                  <a:pt x="660" y="1345"/>
                  <a:pt x="660" y="1354"/>
                  <a:pt x="661" y="1364"/>
                </a:cubicBezTo>
                <a:lnTo>
                  <a:pt x="661" y="1364"/>
                </a:lnTo>
                <a:cubicBezTo>
                  <a:pt x="661" y="1365"/>
                  <a:pt x="661" y="1367"/>
                  <a:pt x="662" y="1368"/>
                </a:cubicBezTo>
                <a:lnTo>
                  <a:pt x="662" y="1368"/>
                </a:lnTo>
                <a:cubicBezTo>
                  <a:pt x="662" y="1372"/>
                  <a:pt x="662" y="1375"/>
                  <a:pt x="663" y="1379"/>
                </a:cubicBezTo>
                <a:lnTo>
                  <a:pt x="663" y="1379"/>
                </a:lnTo>
                <a:cubicBezTo>
                  <a:pt x="663" y="1380"/>
                  <a:pt x="663" y="1382"/>
                  <a:pt x="664" y="1383"/>
                </a:cubicBezTo>
                <a:lnTo>
                  <a:pt x="664" y="1383"/>
                </a:lnTo>
                <a:cubicBezTo>
                  <a:pt x="665" y="1388"/>
                  <a:pt x="666" y="1393"/>
                  <a:pt x="667" y="1398"/>
                </a:cubicBezTo>
                <a:lnTo>
                  <a:pt x="667" y="1398"/>
                </a:lnTo>
                <a:cubicBezTo>
                  <a:pt x="672" y="1415"/>
                  <a:pt x="677" y="1430"/>
                  <a:pt x="683" y="1445"/>
                </a:cubicBezTo>
                <a:lnTo>
                  <a:pt x="683" y="1445"/>
                </a:lnTo>
                <a:cubicBezTo>
                  <a:pt x="688" y="1454"/>
                  <a:pt x="692" y="1463"/>
                  <a:pt x="697" y="1471"/>
                </a:cubicBezTo>
                <a:lnTo>
                  <a:pt x="697" y="1471"/>
                </a:lnTo>
                <a:cubicBezTo>
                  <a:pt x="702" y="1479"/>
                  <a:pt x="707" y="1486"/>
                  <a:pt x="712" y="1494"/>
                </a:cubicBezTo>
                <a:lnTo>
                  <a:pt x="712" y="1494"/>
                </a:lnTo>
                <a:cubicBezTo>
                  <a:pt x="779" y="1581"/>
                  <a:pt x="882" y="1582"/>
                  <a:pt x="882" y="1582"/>
                </a:cubicBezTo>
                <a:lnTo>
                  <a:pt x="882" y="1582"/>
                </a:lnTo>
                <a:cubicBezTo>
                  <a:pt x="936" y="1764"/>
                  <a:pt x="1105" y="1906"/>
                  <a:pt x="1342" y="1969"/>
                </a:cubicBezTo>
                <a:lnTo>
                  <a:pt x="1348" y="2064"/>
                </a:lnTo>
                <a:lnTo>
                  <a:pt x="1348" y="2064"/>
                </a:lnTo>
                <a:cubicBezTo>
                  <a:pt x="1342" y="2047"/>
                  <a:pt x="1339" y="2033"/>
                  <a:pt x="1343" y="2032"/>
                </a:cubicBezTo>
                <a:lnTo>
                  <a:pt x="1343" y="2032"/>
                </a:lnTo>
                <a:lnTo>
                  <a:pt x="1343" y="2032"/>
                </a:lnTo>
                <a:lnTo>
                  <a:pt x="1343" y="2032"/>
                </a:lnTo>
                <a:cubicBezTo>
                  <a:pt x="1342" y="2032"/>
                  <a:pt x="1340" y="2033"/>
                  <a:pt x="1339" y="2034"/>
                </a:cubicBezTo>
                <a:lnTo>
                  <a:pt x="1339" y="2034"/>
                </a:lnTo>
                <a:cubicBezTo>
                  <a:pt x="1337" y="2032"/>
                  <a:pt x="1325" y="2016"/>
                  <a:pt x="1301" y="2035"/>
                </a:cubicBezTo>
                <a:lnTo>
                  <a:pt x="1301" y="2035"/>
                </a:lnTo>
                <a:cubicBezTo>
                  <a:pt x="1301" y="2035"/>
                  <a:pt x="1248" y="2053"/>
                  <a:pt x="1197" y="2114"/>
                </a:cubicBezTo>
                <a:lnTo>
                  <a:pt x="1197" y="2114"/>
                </a:lnTo>
                <a:cubicBezTo>
                  <a:pt x="1064" y="2097"/>
                  <a:pt x="701" y="2176"/>
                  <a:pt x="663" y="2233"/>
                </a:cubicBezTo>
                <a:lnTo>
                  <a:pt x="663" y="2233"/>
                </a:lnTo>
                <a:cubicBezTo>
                  <a:pt x="572" y="2275"/>
                  <a:pt x="599" y="2445"/>
                  <a:pt x="599" y="2675"/>
                </a:cubicBezTo>
                <a:lnTo>
                  <a:pt x="599" y="2675"/>
                </a:lnTo>
                <a:cubicBezTo>
                  <a:pt x="599" y="2898"/>
                  <a:pt x="728" y="3752"/>
                  <a:pt x="791" y="3909"/>
                </a:cubicBezTo>
                <a:lnTo>
                  <a:pt x="791" y="3909"/>
                </a:lnTo>
                <a:lnTo>
                  <a:pt x="791" y="3909"/>
                </a:lnTo>
                <a:lnTo>
                  <a:pt x="791" y="3909"/>
                </a:lnTo>
                <a:cubicBezTo>
                  <a:pt x="792" y="3912"/>
                  <a:pt x="793" y="3915"/>
                  <a:pt x="794" y="3916"/>
                </a:cubicBezTo>
                <a:lnTo>
                  <a:pt x="794" y="3916"/>
                </a:lnTo>
                <a:cubicBezTo>
                  <a:pt x="794" y="3917"/>
                  <a:pt x="794" y="3918"/>
                  <a:pt x="795" y="3919"/>
                </a:cubicBezTo>
                <a:lnTo>
                  <a:pt x="795" y="3919"/>
                </a:lnTo>
                <a:cubicBezTo>
                  <a:pt x="796" y="3920"/>
                  <a:pt x="796" y="3921"/>
                  <a:pt x="797" y="3923"/>
                </a:cubicBezTo>
                <a:lnTo>
                  <a:pt x="797" y="3923"/>
                </a:lnTo>
                <a:cubicBezTo>
                  <a:pt x="797" y="3924"/>
                  <a:pt x="798" y="3925"/>
                  <a:pt x="799" y="3925"/>
                </a:cubicBezTo>
                <a:lnTo>
                  <a:pt x="799" y="3925"/>
                </a:lnTo>
                <a:cubicBezTo>
                  <a:pt x="799" y="3926"/>
                  <a:pt x="800" y="3927"/>
                  <a:pt x="801" y="3928"/>
                </a:cubicBezTo>
                <a:lnTo>
                  <a:pt x="801" y="3928"/>
                </a:lnTo>
                <a:cubicBezTo>
                  <a:pt x="801" y="3929"/>
                  <a:pt x="801" y="3929"/>
                  <a:pt x="802" y="3929"/>
                </a:cubicBezTo>
                <a:lnTo>
                  <a:pt x="802" y="3929"/>
                </a:lnTo>
                <a:cubicBezTo>
                  <a:pt x="803" y="3930"/>
                  <a:pt x="803" y="3931"/>
                  <a:pt x="804" y="3932"/>
                </a:cubicBezTo>
                <a:lnTo>
                  <a:pt x="804" y="3932"/>
                </a:lnTo>
                <a:cubicBezTo>
                  <a:pt x="810" y="3936"/>
                  <a:pt x="829" y="3936"/>
                  <a:pt x="859" y="3935"/>
                </a:cubicBezTo>
                <a:lnTo>
                  <a:pt x="859" y="3935"/>
                </a:lnTo>
                <a:cubicBezTo>
                  <a:pt x="858" y="3936"/>
                  <a:pt x="858" y="3938"/>
                  <a:pt x="858" y="3940"/>
                </a:cubicBezTo>
                <a:lnTo>
                  <a:pt x="858" y="3940"/>
                </a:lnTo>
                <a:cubicBezTo>
                  <a:pt x="853" y="3968"/>
                  <a:pt x="849" y="3998"/>
                  <a:pt x="844" y="4028"/>
                </a:cubicBezTo>
                <a:lnTo>
                  <a:pt x="844" y="4028"/>
                </a:lnTo>
                <a:cubicBezTo>
                  <a:pt x="843" y="4033"/>
                  <a:pt x="843" y="4038"/>
                  <a:pt x="842" y="4044"/>
                </a:cubicBezTo>
                <a:lnTo>
                  <a:pt x="842" y="4044"/>
                </a:lnTo>
                <a:cubicBezTo>
                  <a:pt x="840" y="4053"/>
                  <a:pt x="839" y="4063"/>
                  <a:pt x="837" y="4072"/>
                </a:cubicBezTo>
                <a:lnTo>
                  <a:pt x="837" y="4072"/>
                </a:lnTo>
                <a:cubicBezTo>
                  <a:pt x="837" y="4078"/>
                  <a:pt x="836" y="4083"/>
                  <a:pt x="835" y="4088"/>
                </a:cubicBezTo>
                <a:lnTo>
                  <a:pt x="835" y="4088"/>
                </a:lnTo>
                <a:cubicBezTo>
                  <a:pt x="833" y="4098"/>
                  <a:pt x="832" y="4108"/>
                  <a:pt x="830" y="4118"/>
                </a:cubicBezTo>
                <a:lnTo>
                  <a:pt x="830" y="4118"/>
                </a:lnTo>
                <a:cubicBezTo>
                  <a:pt x="830" y="4123"/>
                  <a:pt x="829" y="4128"/>
                  <a:pt x="828" y="4133"/>
                </a:cubicBezTo>
                <a:lnTo>
                  <a:pt x="828" y="4133"/>
                </a:lnTo>
                <a:cubicBezTo>
                  <a:pt x="827" y="4135"/>
                  <a:pt x="827" y="4137"/>
                  <a:pt x="827" y="4138"/>
                </a:cubicBezTo>
                <a:lnTo>
                  <a:pt x="827" y="4138"/>
                </a:lnTo>
                <a:cubicBezTo>
                  <a:pt x="826" y="4146"/>
                  <a:pt x="824" y="4153"/>
                  <a:pt x="823" y="4161"/>
                </a:cubicBezTo>
                <a:lnTo>
                  <a:pt x="823" y="4161"/>
                </a:lnTo>
                <a:cubicBezTo>
                  <a:pt x="790" y="4375"/>
                  <a:pt x="760" y="4559"/>
                  <a:pt x="767" y="4587"/>
                </a:cubicBezTo>
                <a:lnTo>
                  <a:pt x="767" y="4587"/>
                </a:lnTo>
                <a:lnTo>
                  <a:pt x="767" y="4587"/>
                </a:lnTo>
                <a:lnTo>
                  <a:pt x="767" y="4587"/>
                </a:lnTo>
                <a:cubicBezTo>
                  <a:pt x="767" y="4589"/>
                  <a:pt x="769" y="4590"/>
                  <a:pt x="769" y="4593"/>
                </a:cubicBezTo>
                <a:lnTo>
                  <a:pt x="769" y="4593"/>
                </a:lnTo>
                <a:cubicBezTo>
                  <a:pt x="770" y="4594"/>
                  <a:pt x="771" y="4594"/>
                  <a:pt x="771" y="4595"/>
                </a:cubicBezTo>
                <a:lnTo>
                  <a:pt x="771" y="4595"/>
                </a:lnTo>
                <a:cubicBezTo>
                  <a:pt x="772" y="4596"/>
                  <a:pt x="772" y="4597"/>
                  <a:pt x="773" y="4599"/>
                </a:cubicBezTo>
                <a:lnTo>
                  <a:pt x="773" y="4599"/>
                </a:lnTo>
                <a:cubicBezTo>
                  <a:pt x="774" y="4599"/>
                  <a:pt x="774" y="4600"/>
                  <a:pt x="775" y="4601"/>
                </a:cubicBezTo>
                <a:lnTo>
                  <a:pt x="775" y="4601"/>
                </a:lnTo>
                <a:cubicBezTo>
                  <a:pt x="776" y="4602"/>
                  <a:pt x="777" y="4604"/>
                  <a:pt x="778" y="4605"/>
                </a:cubicBezTo>
                <a:lnTo>
                  <a:pt x="778" y="4605"/>
                </a:lnTo>
                <a:cubicBezTo>
                  <a:pt x="779" y="4606"/>
                  <a:pt x="780" y="4607"/>
                  <a:pt x="781" y="4607"/>
                </a:cubicBezTo>
                <a:lnTo>
                  <a:pt x="781" y="4607"/>
                </a:lnTo>
                <a:cubicBezTo>
                  <a:pt x="782" y="4609"/>
                  <a:pt x="783" y="4610"/>
                  <a:pt x="784" y="4612"/>
                </a:cubicBezTo>
                <a:lnTo>
                  <a:pt x="784" y="4612"/>
                </a:lnTo>
                <a:cubicBezTo>
                  <a:pt x="786" y="4612"/>
                  <a:pt x="787" y="4613"/>
                  <a:pt x="788" y="4615"/>
                </a:cubicBezTo>
                <a:lnTo>
                  <a:pt x="788" y="4615"/>
                </a:lnTo>
                <a:cubicBezTo>
                  <a:pt x="789" y="4616"/>
                  <a:pt x="791" y="4617"/>
                  <a:pt x="792" y="4618"/>
                </a:cubicBezTo>
                <a:lnTo>
                  <a:pt x="792" y="4618"/>
                </a:lnTo>
                <a:cubicBezTo>
                  <a:pt x="793" y="4619"/>
                  <a:pt x="794" y="4620"/>
                  <a:pt x="796" y="4621"/>
                </a:cubicBezTo>
                <a:lnTo>
                  <a:pt x="796" y="4621"/>
                </a:lnTo>
                <a:cubicBezTo>
                  <a:pt x="797" y="4622"/>
                  <a:pt x="799" y="4624"/>
                  <a:pt x="801" y="4625"/>
                </a:cubicBezTo>
                <a:lnTo>
                  <a:pt x="801" y="4625"/>
                </a:lnTo>
                <a:cubicBezTo>
                  <a:pt x="803" y="4626"/>
                  <a:pt x="804" y="4627"/>
                  <a:pt x="806" y="4628"/>
                </a:cubicBezTo>
                <a:lnTo>
                  <a:pt x="806" y="4628"/>
                </a:lnTo>
                <a:cubicBezTo>
                  <a:pt x="807" y="4629"/>
                  <a:pt x="809" y="4630"/>
                  <a:pt x="811" y="4632"/>
                </a:cubicBezTo>
                <a:lnTo>
                  <a:pt x="811" y="4632"/>
                </a:lnTo>
                <a:cubicBezTo>
                  <a:pt x="812" y="4633"/>
                  <a:pt x="814" y="4634"/>
                  <a:pt x="816" y="4635"/>
                </a:cubicBezTo>
                <a:lnTo>
                  <a:pt x="816" y="4635"/>
                </a:lnTo>
                <a:cubicBezTo>
                  <a:pt x="817" y="4636"/>
                  <a:pt x="819" y="4637"/>
                  <a:pt x="821" y="4639"/>
                </a:cubicBezTo>
                <a:lnTo>
                  <a:pt x="821" y="4639"/>
                </a:lnTo>
                <a:cubicBezTo>
                  <a:pt x="823" y="4640"/>
                  <a:pt x="825" y="4641"/>
                  <a:pt x="827" y="4642"/>
                </a:cubicBezTo>
                <a:lnTo>
                  <a:pt x="827" y="4642"/>
                </a:lnTo>
                <a:cubicBezTo>
                  <a:pt x="829" y="4643"/>
                  <a:pt x="830" y="4644"/>
                  <a:pt x="832" y="4645"/>
                </a:cubicBezTo>
                <a:lnTo>
                  <a:pt x="832" y="4645"/>
                </a:lnTo>
                <a:cubicBezTo>
                  <a:pt x="834" y="4646"/>
                  <a:pt x="837" y="4648"/>
                  <a:pt x="839" y="4649"/>
                </a:cubicBezTo>
                <a:lnTo>
                  <a:pt x="839" y="4649"/>
                </a:lnTo>
                <a:cubicBezTo>
                  <a:pt x="840" y="4649"/>
                  <a:pt x="840" y="4650"/>
                  <a:pt x="840" y="4650"/>
                </a:cubicBezTo>
                <a:lnTo>
                  <a:pt x="840" y="4650"/>
                </a:lnTo>
                <a:cubicBezTo>
                  <a:pt x="910" y="4689"/>
                  <a:pt x="1014" y="4726"/>
                  <a:pt x="1085" y="4733"/>
                </a:cubicBezTo>
                <a:lnTo>
                  <a:pt x="1085" y="4733"/>
                </a:lnTo>
                <a:cubicBezTo>
                  <a:pt x="974" y="5405"/>
                  <a:pt x="732" y="6874"/>
                  <a:pt x="579" y="7932"/>
                </a:cubicBezTo>
                <a:lnTo>
                  <a:pt x="579" y="7932"/>
                </a:lnTo>
                <a:cubicBezTo>
                  <a:pt x="579" y="7932"/>
                  <a:pt x="632" y="7945"/>
                  <a:pt x="679" y="7954"/>
                </a:cubicBezTo>
                <a:lnTo>
                  <a:pt x="595" y="7985"/>
                </a:lnTo>
                <a:lnTo>
                  <a:pt x="595" y="7985"/>
                </a:lnTo>
                <a:cubicBezTo>
                  <a:pt x="595" y="7985"/>
                  <a:pt x="218" y="7935"/>
                  <a:pt x="63" y="8048"/>
                </a:cubicBezTo>
                <a:lnTo>
                  <a:pt x="63" y="8048"/>
                </a:lnTo>
                <a:cubicBezTo>
                  <a:pt x="63" y="8049"/>
                  <a:pt x="62" y="8049"/>
                  <a:pt x="61" y="8050"/>
                </a:cubicBezTo>
                <a:lnTo>
                  <a:pt x="61" y="8050"/>
                </a:lnTo>
                <a:cubicBezTo>
                  <a:pt x="57" y="8052"/>
                  <a:pt x="54" y="8055"/>
                  <a:pt x="51" y="8058"/>
                </a:cubicBezTo>
                <a:lnTo>
                  <a:pt x="51" y="8058"/>
                </a:lnTo>
                <a:cubicBezTo>
                  <a:pt x="51" y="8058"/>
                  <a:pt x="51" y="8058"/>
                  <a:pt x="50" y="8058"/>
                </a:cubicBezTo>
                <a:lnTo>
                  <a:pt x="50" y="8058"/>
                </a:lnTo>
                <a:cubicBezTo>
                  <a:pt x="26" y="8080"/>
                  <a:pt x="9" y="8106"/>
                  <a:pt x="2" y="8139"/>
                </a:cubicBezTo>
                <a:lnTo>
                  <a:pt x="2" y="8139"/>
                </a:lnTo>
                <a:cubicBezTo>
                  <a:pt x="1" y="8144"/>
                  <a:pt x="0" y="8150"/>
                  <a:pt x="0" y="8156"/>
                </a:cubicBezTo>
                <a:lnTo>
                  <a:pt x="0" y="8156"/>
                </a:lnTo>
                <a:lnTo>
                  <a:pt x="0" y="8156"/>
                </a:lnTo>
                <a:cubicBezTo>
                  <a:pt x="0" y="8167"/>
                  <a:pt x="2" y="8176"/>
                  <a:pt x="7" y="8185"/>
                </a:cubicBezTo>
                <a:lnTo>
                  <a:pt x="7" y="8185"/>
                </a:lnTo>
                <a:lnTo>
                  <a:pt x="7" y="8185"/>
                </a:lnTo>
                <a:lnTo>
                  <a:pt x="7" y="8185"/>
                </a:lnTo>
                <a:cubicBezTo>
                  <a:pt x="9" y="8188"/>
                  <a:pt x="11" y="8190"/>
                  <a:pt x="12" y="8193"/>
                </a:cubicBezTo>
                <a:lnTo>
                  <a:pt x="12" y="8193"/>
                </a:lnTo>
                <a:cubicBezTo>
                  <a:pt x="13" y="8193"/>
                  <a:pt x="13" y="8193"/>
                  <a:pt x="13" y="8194"/>
                </a:cubicBezTo>
                <a:lnTo>
                  <a:pt x="13" y="8194"/>
                </a:lnTo>
                <a:cubicBezTo>
                  <a:pt x="15" y="8195"/>
                  <a:pt x="17" y="8197"/>
                  <a:pt x="19" y="8200"/>
                </a:cubicBezTo>
                <a:lnTo>
                  <a:pt x="19" y="8200"/>
                </a:lnTo>
                <a:cubicBezTo>
                  <a:pt x="19" y="8200"/>
                  <a:pt x="20" y="8200"/>
                  <a:pt x="21" y="8201"/>
                </a:cubicBezTo>
                <a:lnTo>
                  <a:pt x="21" y="8201"/>
                </a:lnTo>
                <a:cubicBezTo>
                  <a:pt x="23" y="8203"/>
                  <a:pt x="25" y="8204"/>
                  <a:pt x="27" y="8205"/>
                </a:cubicBezTo>
                <a:lnTo>
                  <a:pt x="27" y="8205"/>
                </a:lnTo>
                <a:cubicBezTo>
                  <a:pt x="27" y="8206"/>
                  <a:pt x="28" y="8207"/>
                  <a:pt x="29" y="8207"/>
                </a:cubicBezTo>
                <a:lnTo>
                  <a:pt x="29" y="8207"/>
                </a:lnTo>
                <a:cubicBezTo>
                  <a:pt x="32" y="8209"/>
                  <a:pt x="34" y="8210"/>
                  <a:pt x="37" y="8212"/>
                </a:cubicBezTo>
                <a:lnTo>
                  <a:pt x="37" y="8212"/>
                </a:lnTo>
                <a:lnTo>
                  <a:pt x="38" y="8213"/>
                </a:lnTo>
                <a:lnTo>
                  <a:pt x="38" y="8213"/>
                </a:lnTo>
                <a:cubicBezTo>
                  <a:pt x="201" y="8296"/>
                  <a:pt x="824" y="8126"/>
                  <a:pt x="824" y="8126"/>
                </a:cubicBezTo>
                <a:lnTo>
                  <a:pt x="823" y="7963"/>
                </a:lnTo>
                <a:lnTo>
                  <a:pt x="823" y="7963"/>
                </a:lnTo>
                <a:cubicBezTo>
                  <a:pt x="850" y="7963"/>
                  <a:pt x="873" y="7962"/>
                  <a:pt x="873" y="7962"/>
                </a:cubicBezTo>
                <a:lnTo>
                  <a:pt x="873" y="7962"/>
                </a:lnTo>
                <a:lnTo>
                  <a:pt x="873" y="7961"/>
                </a:lnTo>
                <a:lnTo>
                  <a:pt x="873" y="7961"/>
                </a:lnTo>
                <a:cubicBezTo>
                  <a:pt x="873" y="7959"/>
                  <a:pt x="874" y="7956"/>
                  <a:pt x="875" y="7952"/>
                </a:cubicBezTo>
                <a:lnTo>
                  <a:pt x="875" y="7952"/>
                </a:lnTo>
                <a:cubicBezTo>
                  <a:pt x="875" y="7951"/>
                  <a:pt x="875" y="7949"/>
                  <a:pt x="875" y="7948"/>
                </a:cubicBezTo>
                <a:lnTo>
                  <a:pt x="875" y="7948"/>
                </a:lnTo>
                <a:cubicBezTo>
                  <a:pt x="877" y="7944"/>
                  <a:pt x="877" y="7939"/>
                  <a:pt x="878" y="7934"/>
                </a:cubicBezTo>
                <a:lnTo>
                  <a:pt x="878" y="7934"/>
                </a:lnTo>
                <a:cubicBezTo>
                  <a:pt x="878" y="7934"/>
                  <a:pt x="878" y="7934"/>
                  <a:pt x="879" y="7933"/>
                </a:cubicBezTo>
                <a:lnTo>
                  <a:pt x="879" y="7933"/>
                </a:lnTo>
                <a:cubicBezTo>
                  <a:pt x="938" y="7651"/>
                  <a:pt x="1415" y="5390"/>
                  <a:pt x="1571" y="5211"/>
                </a:cubicBezTo>
                <a:lnTo>
                  <a:pt x="1571" y="5211"/>
                </a:lnTo>
                <a:cubicBezTo>
                  <a:pt x="1570" y="5211"/>
                  <a:pt x="1570" y="5211"/>
                  <a:pt x="1570" y="5211"/>
                </a:cubicBezTo>
                <a:lnTo>
                  <a:pt x="1570" y="5211"/>
                </a:lnTo>
                <a:cubicBezTo>
                  <a:pt x="1573" y="5208"/>
                  <a:pt x="1575" y="5205"/>
                  <a:pt x="1577" y="5204"/>
                </a:cubicBezTo>
                <a:lnTo>
                  <a:pt x="1577" y="5204"/>
                </a:lnTo>
                <a:cubicBezTo>
                  <a:pt x="1580" y="5202"/>
                  <a:pt x="1584" y="5200"/>
                  <a:pt x="1587" y="5199"/>
                </a:cubicBezTo>
                <a:lnTo>
                  <a:pt x="1587" y="5199"/>
                </a:lnTo>
                <a:cubicBezTo>
                  <a:pt x="1592" y="5198"/>
                  <a:pt x="1595" y="5198"/>
                  <a:pt x="1595" y="5198"/>
                </a:cubicBezTo>
                <a:lnTo>
                  <a:pt x="1595" y="5198"/>
                </a:lnTo>
                <a:lnTo>
                  <a:pt x="1595" y="5198"/>
                </a:lnTo>
                <a:lnTo>
                  <a:pt x="1595" y="5198"/>
                </a:lnTo>
                <a:cubicBezTo>
                  <a:pt x="1599" y="5199"/>
                  <a:pt x="1602" y="5200"/>
                  <a:pt x="1604" y="5203"/>
                </a:cubicBezTo>
                <a:lnTo>
                  <a:pt x="1604" y="5203"/>
                </a:lnTo>
                <a:lnTo>
                  <a:pt x="1604" y="5203"/>
                </a:lnTo>
                <a:lnTo>
                  <a:pt x="1604" y="5203"/>
                </a:lnTo>
                <a:cubicBezTo>
                  <a:pt x="1731" y="5295"/>
                  <a:pt x="1572" y="6979"/>
                  <a:pt x="1540" y="7685"/>
                </a:cubicBezTo>
                <a:lnTo>
                  <a:pt x="1540" y="7685"/>
                </a:lnTo>
                <a:cubicBezTo>
                  <a:pt x="1540" y="7685"/>
                  <a:pt x="1540" y="7686"/>
                  <a:pt x="1540" y="7687"/>
                </a:cubicBezTo>
                <a:lnTo>
                  <a:pt x="1540" y="7687"/>
                </a:lnTo>
                <a:cubicBezTo>
                  <a:pt x="1540" y="7693"/>
                  <a:pt x="1540" y="7698"/>
                  <a:pt x="1540" y="7704"/>
                </a:cubicBezTo>
                <a:lnTo>
                  <a:pt x="1540" y="7704"/>
                </a:lnTo>
                <a:cubicBezTo>
                  <a:pt x="1540" y="7705"/>
                  <a:pt x="1540" y="7706"/>
                  <a:pt x="1540" y="7708"/>
                </a:cubicBezTo>
                <a:lnTo>
                  <a:pt x="1540" y="7708"/>
                </a:lnTo>
                <a:cubicBezTo>
                  <a:pt x="1539" y="7713"/>
                  <a:pt x="1539" y="7718"/>
                  <a:pt x="1539" y="7723"/>
                </a:cubicBezTo>
                <a:lnTo>
                  <a:pt x="1539" y="7723"/>
                </a:lnTo>
                <a:cubicBezTo>
                  <a:pt x="1539" y="7725"/>
                  <a:pt x="1539" y="7726"/>
                  <a:pt x="1539" y="7728"/>
                </a:cubicBezTo>
                <a:lnTo>
                  <a:pt x="1539" y="7728"/>
                </a:lnTo>
                <a:cubicBezTo>
                  <a:pt x="1539" y="7732"/>
                  <a:pt x="1539" y="7737"/>
                  <a:pt x="1538" y="7742"/>
                </a:cubicBezTo>
                <a:lnTo>
                  <a:pt x="1538" y="7742"/>
                </a:lnTo>
                <a:cubicBezTo>
                  <a:pt x="1538" y="7743"/>
                  <a:pt x="1538" y="7745"/>
                  <a:pt x="1538" y="7746"/>
                </a:cubicBezTo>
                <a:lnTo>
                  <a:pt x="1538" y="7746"/>
                </a:lnTo>
                <a:cubicBezTo>
                  <a:pt x="1538" y="7751"/>
                  <a:pt x="1538" y="7755"/>
                  <a:pt x="1537" y="7759"/>
                </a:cubicBezTo>
                <a:lnTo>
                  <a:pt x="1537" y="7759"/>
                </a:lnTo>
                <a:cubicBezTo>
                  <a:pt x="1537" y="7761"/>
                  <a:pt x="1537" y="7763"/>
                  <a:pt x="1537" y="7765"/>
                </a:cubicBezTo>
                <a:lnTo>
                  <a:pt x="1537" y="7765"/>
                </a:lnTo>
                <a:cubicBezTo>
                  <a:pt x="1537" y="7768"/>
                  <a:pt x="1537" y="7773"/>
                  <a:pt x="1537" y="7776"/>
                </a:cubicBezTo>
                <a:lnTo>
                  <a:pt x="1537" y="7776"/>
                </a:lnTo>
                <a:cubicBezTo>
                  <a:pt x="1537" y="7778"/>
                  <a:pt x="1537" y="7780"/>
                  <a:pt x="1537" y="7783"/>
                </a:cubicBezTo>
                <a:lnTo>
                  <a:pt x="1537" y="7783"/>
                </a:lnTo>
                <a:cubicBezTo>
                  <a:pt x="1537" y="7786"/>
                  <a:pt x="1537" y="7790"/>
                  <a:pt x="1537" y="7793"/>
                </a:cubicBezTo>
                <a:lnTo>
                  <a:pt x="1537" y="7793"/>
                </a:lnTo>
                <a:cubicBezTo>
                  <a:pt x="1536" y="7795"/>
                  <a:pt x="1536" y="7797"/>
                  <a:pt x="1536" y="7799"/>
                </a:cubicBezTo>
                <a:lnTo>
                  <a:pt x="1536" y="7799"/>
                </a:lnTo>
                <a:cubicBezTo>
                  <a:pt x="1536" y="7803"/>
                  <a:pt x="1536" y="7806"/>
                  <a:pt x="1536" y="7809"/>
                </a:cubicBezTo>
                <a:lnTo>
                  <a:pt x="1536" y="7809"/>
                </a:lnTo>
                <a:cubicBezTo>
                  <a:pt x="1536" y="7811"/>
                  <a:pt x="1536" y="7813"/>
                  <a:pt x="1536" y="7816"/>
                </a:cubicBezTo>
                <a:lnTo>
                  <a:pt x="1536" y="7816"/>
                </a:lnTo>
                <a:cubicBezTo>
                  <a:pt x="1536" y="7818"/>
                  <a:pt x="1536" y="7821"/>
                  <a:pt x="1536" y="7825"/>
                </a:cubicBezTo>
                <a:lnTo>
                  <a:pt x="1536" y="7825"/>
                </a:lnTo>
                <a:cubicBezTo>
                  <a:pt x="1536" y="7827"/>
                  <a:pt x="1536" y="7829"/>
                  <a:pt x="1536" y="7831"/>
                </a:cubicBezTo>
                <a:lnTo>
                  <a:pt x="1536" y="7831"/>
                </a:lnTo>
                <a:cubicBezTo>
                  <a:pt x="1536" y="7834"/>
                  <a:pt x="1536" y="7837"/>
                  <a:pt x="1536" y="7840"/>
                </a:cubicBezTo>
                <a:lnTo>
                  <a:pt x="1536" y="7840"/>
                </a:lnTo>
                <a:cubicBezTo>
                  <a:pt x="1536" y="7841"/>
                  <a:pt x="1536" y="7844"/>
                  <a:pt x="1536" y="7846"/>
                </a:cubicBezTo>
                <a:lnTo>
                  <a:pt x="1536" y="7846"/>
                </a:lnTo>
                <a:cubicBezTo>
                  <a:pt x="1536" y="7848"/>
                  <a:pt x="1536" y="7851"/>
                  <a:pt x="1536" y="7854"/>
                </a:cubicBezTo>
                <a:lnTo>
                  <a:pt x="1536" y="7854"/>
                </a:lnTo>
                <a:cubicBezTo>
                  <a:pt x="1536" y="7856"/>
                  <a:pt x="1536" y="7858"/>
                  <a:pt x="1536" y="7860"/>
                </a:cubicBezTo>
                <a:lnTo>
                  <a:pt x="1536" y="7860"/>
                </a:lnTo>
                <a:cubicBezTo>
                  <a:pt x="1536" y="7862"/>
                  <a:pt x="1536" y="7865"/>
                  <a:pt x="1536" y="7868"/>
                </a:cubicBezTo>
                <a:lnTo>
                  <a:pt x="1536" y="7868"/>
                </a:lnTo>
                <a:cubicBezTo>
                  <a:pt x="1536" y="7869"/>
                  <a:pt x="1536" y="7871"/>
                  <a:pt x="1536" y="7874"/>
                </a:cubicBezTo>
                <a:lnTo>
                  <a:pt x="1536" y="7874"/>
                </a:lnTo>
                <a:cubicBezTo>
                  <a:pt x="1536" y="7876"/>
                  <a:pt x="1536" y="7878"/>
                  <a:pt x="1536" y="7881"/>
                </a:cubicBezTo>
                <a:lnTo>
                  <a:pt x="1536" y="7881"/>
                </a:lnTo>
                <a:cubicBezTo>
                  <a:pt x="1536" y="7882"/>
                  <a:pt x="1536" y="7884"/>
                  <a:pt x="1536" y="7886"/>
                </a:cubicBezTo>
                <a:lnTo>
                  <a:pt x="1536" y="7886"/>
                </a:lnTo>
                <a:cubicBezTo>
                  <a:pt x="1536" y="7889"/>
                  <a:pt x="1536" y="7891"/>
                  <a:pt x="1536" y="7893"/>
                </a:cubicBezTo>
                <a:lnTo>
                  <a:pt x="1536" y="7893"/>
                </a:lnTo>
                <a:cubicBezTo>
                  <a:pt x="1536" y="7895"/>
                  <a:pt x="1536" y="7897"/>
                  <a:pt x="1536" y="7898"/>
                </a:cubicBezTo>
                <a:lnTo>
                  <a:pt x="1536" y="7898"/>
                </a:lnTo>
                <a:cubicBezTo>
                  <a:pt x="1536" y="7901"/>
                  <a:pt x="1536" y="7903"/>
                  <a:pt x="1536" y="7906"/>
                </a:cubicBezTo>
                <a:lnTo>
                  <a:pt x="1536" y="7906"/>
                </a:lnTo>
                <a:cubicBezTo>
                  <a:pt x="1536" y="7907"/>
                  <a:pt x="1536" y="7908"/>
                  <a:pt x="1536" y="7910"/>
                </a:cubicBezTo>
                <a:lnTo>
                  <a:pt x="1536" y="7910"/>
                </a:lnTo>
                <a:cubicBezTo>
                  <a:pt x="1536" y="7912"/>
                  <a:pt x="1536" y="7914"/>
                  <a:pt x="1536" y="7916"/>
                </a:cubicBezTo>
                <a:lnTo>
                  <a:pt x="1536" y="7916"/>
                </a:lnTo>
                <a:cubicBezTo>
                  <a:pt x="1536" y="7918"/>
                  <a:pt x="1536" y="7919"/>
                  <a:pt x="1536" y="7921"/>
                </a:cubicBezTo>
                <a:lnTo>
                  <a:pt x="1536" y="7921"/>
                </a:lnTo>
                <a:cubicBezTo>
                  <a:pt x="1536" y="7923"/>
                  <a:pt x="1536" y="7925"/>
                  <a:pt x="1536" y="7927"/>
                </a:cubicBezTo>
                <a:lnTo>
                  <a:pt x="1536" y="7927"/>
                </a:lnTo>
                <a:cubicBezTo>
                  <a:pt x="1536" y="7928"/>
                  <a:pt x="1537" y="7929"/>
                  <a:pt x="1537" y="7931"/>
                </a:cubicBezTo>
                <a:lnTo>
                  <a:pt x="1537" y="7931"/>
                </a:lnTo>
                <a:cubicBezTo>
                  <a:pt x="1537" y="7933"/>
                  <a:pt x="1537" y="7935"/>
                  <a:pt x="1537" y="7937"/>
                </a:cubicBezTo>
                <a:lnTo>
                  <a:pt x="1537" y="7937"/>
                </a:lnTo>
                <a:cubicBezTo>
                  <a:pt x="1537" y="7938"/>
                  <a:pt x="1537" y="7939"/>
                  <a:pt x="1537" y="7940"/>
                </a:cubicBezTo>
                <a:lnTo>
                  <a:pt x="1537" y="7940"/>
                </a:lnTo>
                <a:cubicBezTo>
                  <a:pt x="1537" y="7943"/>
                  <a:pt x="1537" y="7946"/>
                  <a:pt x="1538" y="7949"/>
                </a:cubicBezTo>
                <a:lnTo>
                  <a:pt x="1538" y="7949"/>
                </a:lnTo>
                <a:cubicBezTo>
                  <a:pt x="1538" y="7949"/>
                  <a:pt x="1550" y="7958"/>
                  <a:pt x="1573" y="7969"/>
                </a:cubicBezTo>
                <a:lnTo>
                  <a:pt x="1573" y="7969"/>
                </a:lnTo>
                <a:cubicBezTo>
                  <a:pt x="1598" y="7981"/>
                  <a:pt x="1634" y="7994"/>
                  <a:pt x="1680" y="7999"/>
                </a:cubicBezTo>
                <a:lnTo>
                  <a:pt x="1680" y="8092"/>
                </a:lnTo>
                <a:lnTo>
                  <a:pt x="1680" y="8148"/>
                </a:lnTo>
                <a:lnTo>
                  <a:pt x="1680" y="8148"/>
                </a:lnTo>
                <a:cubicBezTo>
                  <a:pt x="1680" y="8148"/>
                  <a:pt x="2305" y="8310"/>
                  <a:pt x="2467" y="8224"/>
                </a:cubicBezTo>
                <a:lnTo>
                  <a:pt x="2467" y="8224"/>
                </a:lnTo>
                <a:cubicBezTo>
                  <a:pt x="2467" y="8223"/>
                  <a:pt x="2467" y="8223"/>
                  <a:pt x="2468" y="8223"/>
                </a:cubicBezTo>
                <a:lnTo>
                  <a:pt x="2468" y="8223"/>
                </a:lnTo>
                <a:cubicBezTo>
                  <a:pt x="2471" y="8221"/>
                  <a:pt x="2473" y="8220"/>
                  <a:pt x="2476" y="8218"/>
                </a:cubicBezTo>
                <a:lnTo>
                  <a:pt x="2476" y="8218"/>
                </a:lnTo>
                <a:cubicBezTo>
                  <a:pt x="2477" y="8217"/>
                  <a:pt x="2477" y="8217"/>
                  <a:pt x="2478" y="8217"/>
                </a:cubicBezTo>
                <a:lnTo>
                  <a:pt x="2478" y="8217"/>
                </a:lnTo>
                <a:cubicBezTo>
                  <a:pt x="2480" y="8215"/>
                  <a:pt x="2482" y="8213"/>
                  <a:pt x="2484" y="8211"/>
                </a:cubicBezTo>
                <a:lnTo>
                  <a:pt x="2484" y="8211"/>
                </a:lnTo>
                <a:cubicBezTo>
                  <a:pt x="2485" y="8211"/>
                  <a:pt x="2485" y="8210"/>
                  <a:pt x="2485" y="8210"/>
                </a:cubicBezTo>
                <a:lnTo>
                  <a:pt x="2485" y="8210"/>
                </a:lnTo>
                <a:cubicBezTo>
                  <a:pt x="2488" y="8208"/>
                  <a:pt x="2490" y="8206"/>
                  <a:pt x="2492" y="8204"/>
                </a:cubicBezTo>
                <a:lnTo>
                  <a:pt x="2492" y="8204"/>
                </a:lnTo>
                <a:cubicBezTo>
                  <a:pt x="2492" y="8204"/>
                  <a:pt x="2492" y="8203"/>
                  <a:pt x="2493" y="8203"/>
                </a:cubicBezTo>
                <a:lnTo>
                  <a:pt x="2493" y="8203"/>
                </a:lnTo>
                <a:cubicBezTo>
                  <a:pt x="2494" y="8201"/>
                  <a:pt x="2495" y="8199"/>
                  <a:pt x="2497" y="8195"/>
                </a:cubicBezTo>
                <a:lnTo>
                  <a:pt x="2497" y="8195"/>
                </a:lnTo>
                <a:lnTo>
                  <a:pt x="2497" y="8195"/>
                </a:lnTo>
                <a:lnTo>
                  <a:pt x="2497" y="8195"/>
                </a:lnTo>
                <a:cubicBezTo>
                  <a:pt x="2502" y="8187"/>
                  <a:pt x="2504" y="8177"/>
                  <a:pt x="2504" y="8166"/>
                </a:cubicBezTo>
                <a:lnTo>
                  <a:pt x="2504" y="8166"/>
                </a:lnTo>
                <a:lnTo>
                  <a:pt x="2504" y="8166"/>
                </a:lnTo>
                <a:cubicBezTo>
                  <a:pt x="2504" y="8161"/>
                  <a:pt x="2504" y="8155"/>
                  <a:pt x="2502" y="8149"/>
                </a:cubicBezTo>
                <a:lnTo>
                  <a:pt x="2502" y="8149"/>
                </a:lnTo>
                <a:cubicBezTo>
                  <a:pt x="2494" y="8116"/>
                  <a:pt x="2477" y="8090"/>
                  <a:pt x="2452" y="8069"/>
                </a:cubicBezTo>
                <a:lnTo>
                  <a:pt x="2452" y="8069"/>
                </a:lnTo>
                <a:lnTo>
                  <a:pt x="2452" y="8069"/>
                </a:lnTo>
                <a:cubicBezTo>
                  <a:pt x="2449" y="8066"/>
                  <a:pt x="2445" y="8063"/>
                  <a:pt x="2442" y="8061"/>
                </a:cubicBezTo>
                <a:lnTo>
                  <a:pt x="2442" y="8061"/>
                </a:lnTo>
                <a:cubicBezTo>
                  <a:pt x="2441" y="8060"/>
                  <a:pt x="2440" y="8060"/>
                  <a:pt x="2439" y="8059"/>
                </a:cubicBezTo>
                <a:lnTo>
                  <a:pt x="2439" y="8059"/>
                </a:lnTo>
                <a:cubicBezTo>
                  <a:pt x="2282" y="7948"/>
                  <a:pt x="1907" y="8005"/>
                  <a:pt x="1907" y="8005"/>
                </a:cubicBezTo>
                <a:lnTo>
                  <a:pt x="1874" y="7992"/>
                </a:lnTo>
                <a:lnTo>
                  <a:pt x="1839" y="7980"/>
                </a:lnTo>
                <a:lnTo>
                  <a:pt x="1839" y="7980"/>
                </a:lnTo>
                <a:cubicBezTo>
                  <a:pt x="1861" y="7972"/>
                  <a:pt x="1884" y="7962"/>
                  <a:pt x="1906" y="7950"/>
                </a:cubicBezTo>
                <a:lnTo>
                  <a:pt x="1906" y="7950"/>
                </a:lnTo>
                <a:cubicBezTo>
                  <a:pt x="1906" y="7950"/>
                  <a:pt x="1940" y="7217"/>
                  <a:pt x="1977" y="6408"/>
                </a:cubicBezTo>
                <a:lnTo>
                  <a:pt x="1977" y="6408"/>
                </a:lnTo>
                <a:lnTo>
                  <a:pt x="1977" y="6408"/>
                </a:lnTo>
                <a:cubicBezTo>
                  <a:pt x="2004" y="5800"/>
                  <a:pt x="2034" y="5148"/>
                  <a:pt x="2054" y="4734"/>
                </a:cubicBezTo>
                <a:lnTo>
                  <a:pt x="2054" y="4734"/>
                </a:lnTo>
                <a:cubicBezTo>
                  <a:pt x="2080" y="4728"/>
                  <a:pt x="2104" y="4720"/>
                  <a:pt x="2122" y="4707"/>
                </a:cubicBezTo>
                <a:lnTo>
                  <a:pt x="2122" y="4707"/>
                </a:lnTo>
                <a:cubicBezTo>
                  <a:pt x="2148" y="4697"/>
                  <a:pt x="2169" y="4683"/>
                  <a:pt x="2181" y="4663"/>
                </a:cubicBezTo>
                <a:lnTo>
                  <a:pt x="2181" y="4663"/>
                </a:lnTo>
                <a:cubicBezTo>
                  <a:pt x="2211" y="4615"/>
                  <a:pt x="2185" y="4505"/>
                  <a:pt x="2185" y="4450"/>
                </a:cubicBezTo>
                <a:lnTo>
                  <a:pt x="2185" y="4450"/>
                </a:lnTo>
                <a:cubicBezTo>
                  <a:pt x="2184" y="4373"/>
                  <a:pt x="2185" y="4296"/>
                  <a:pt x="2186" y="4219"/>
                </a:cubicBezTo>
                <a:lnTo>
                  <a:pt x="2186" y="4219"/>
                </a:lnTo>
                <a:cubicBezTo>
                  <a:pt x="2186" y="4204"/>
                  <a:pt x="2186" y="4191"/>
                  <a:pt x="2187" y="4176"/>
                </a:cubicBezTo>
                <a:lnTo>
                  <a:pt x="2187" y="4176"/>
                </a:lnTo>
                <a:cubicBezTo>
                  <a:pt x="2187" y="4173"/>
                  <a:pt x="2187" y="4172"/>
                  <a:pt x="2187" y="4169"/>
                </a:cubicBezTo>
                <a:lnTo>
                  <a:pt x="2187" y="4169"/>
                </a:lnTo>
                <a:cubicBezTo>
                  <a:pt x="2188" y="4124"/>
                  <a:pt x="2191" y="4078"/>
                  <a:pt x="2195" y="4030"/>
                </a:cubicBezTo>
                <a:lnTo>
                  <a:pt x="2195" y="4030"/>
                </a:lnTo>
                <a:cubicBezTo>
                  <a:pt x="2195" y="4031"/>
                  <a:pt x="2195" y="4031"/>
                  <a:pt x="2195" y="4031"/>
                </a:cubicBezTo>
                <a:lnTo>
                  <a:pt x="2195" y="4031"/>
                </a:lnTo>
                <a:cubicBezTo>
                  <a:pt x="2203" y="3920"/>
                  <a:pt x="2216" y="3806"/>
                  <a:pt x="2228" y="3700"/>
                </a:cubicBezTo>
                <a:lnTo>
                  <a:pt x="2228" y="3700"/>
                </a:lnTo>
                <a:cubicBezTo>
                  <a:pt x="2236" y="3698"/>
                  <a:pt x="2245" y="3696"/>
                  <a:pt x="2252" y="3694"/>
                </a:cubicBezTo>
                <a:lnTo>
                  <a:pt x="2252" y="3694"/>
                </a:lnTo>
                <a:cubicBezTo>
                  <a:pt x="2283" y="3686"/>
                  <a:pt x="2301" y="3681"/>
                  <a:pt x="2302" y="3678"/>
                </a:cubicBezTo>
                <a:lnTo>
                  <a:pt x="2302" y="3678"/>
                </a:lnTo>
                <a:cubicBezTo>
                  <a:pt x="2305" y="3674"/>
                  <a:pt x="2306" y="3670"/>
                  <a:pt x="2309" y="3665"/>
                </a:cubicBezTo>
                <a:lnTo>
                  <a:pt x="2309" y="3665"/>
                </a:lnTo>
                <a:cubicBezTo>
                  <a:pt x="2381" y="3787"/>
                  <a:pt x="2451" y="3865"/>
                  <a:pt x="2512" y="3871"/>
                </a:cubicBezTo>
                <a:lnTo>
                  <a:pt x="2512" y="3871"/>
                </a:lnTo>
                <a:cubicBezTo>
                  <a:pt x="2641" y="3884"/>
                  <a:pt x="2707" y="3665"/>
                  <a:pt x="2687" y="3560"/>
                </a:cubicBezTo>
                <a:lnTo>
                  <a:pt x="2687" y="3560"/>
                </a:lnTo>
                <a:lnTo>
                  <a:pt x="2687" y="3559"/>
                </a:lnTo>
                <a:close/>
              </a:path>
            </a:pathLst>
          </a:custGeom>
          <a:solidFill>
            <a:srgbClr val="8198AD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Roboto Light" panose="02000000000000000000" pitchFamily="2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0D7FD7C-7361-7842-818D-55E16AEB5737}"/>
              </a:ext>
            </a:extLst>
          </p:cNvPr>
          <p:cNvSpPr txBox="1"/>
          <p:nvPr userDrawn="1"/>
        </p:nvSpPr>
        <p:spPr>
          <a:xfrm>
            <a:off x="637518" y="4046043"/>
            <a:ext cx="4356000" cy="353943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r>
              <a:rPr lang="en-US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Arial" panose="020B0604020202020204" pitchFamily="34" charset="0"/>
              </a:rPr>
              <a:t>KEY PERFORMANCE INDICATORS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  <a:ea typeface="League Spartan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E9F8059-43C5-B442-A347-779B3D079F6D}"/>
              </a:ext>
            </a:extLst>
          </p:cNvPr>
          <p:cNvSpPr txBox="1"/>
          <p:nvPr userDrawn="1"/>
        </p:nvSpPr>
        <p:spPr>
          <a:xfrm>
            <a:off x="8140700" y="4046043"/>
            <a:ext cx="3808797" cy="402513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Arial" panose="020B0604020202020204" pitchFamily="34" charset="0"/>
              </a:rPr>
              <a:t>OBJECTIVE &amp; KEY RESULTS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  <a:ea typeface="League Spartan" charset="0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323343" y="2740122"/>
            <a:ext cx="2103477" cy="1272293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MY" dirty="0" smtClean="0"/>
              <a:t>&lt; Title &gt; Arial  24, BOLD</a:t>
            </a:r>
            <a:endParaRPr lang="en-MY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1"/>
          </p:nvPr>
        </p:nvSpPr>
        <p:spPr>
          <a:xfrm>
            <a:off x="258410" y="595152"/>
            <a:ext cx="5064933" cy="1971927"/>
          </a:xfrm>
        </p:spPr>
        <p:txBody>
          <a:bodyPr>
            <a:noAutofit/>
          </a:bodyPr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400" b="0">
                <a:solidFill>
                  <a:schemeClr val="bg1"/>
                </a:solidFill>
              </a:defRPr>
            </a:lvl2pPr>
            <a:lvl3pPr>
              <a:defRPr sz="1200" b="0">
                <a:solidFill>
                  <a:schemeClr val="bg1"/>
                </a:solidFill>
              </a:defRPr>
            </a:lvl3pPr>
            <a:lvl4pPr>
              <a:defRPr sz="1100" b="0">
                <a:solidFill>
                  <a:schemeClr val="bg1"/>
                </a:solidFill>
              </a:defRPr>
            </a:lvl4pPr>
            <a:lvl5pPr>
              <a:defRPr sz="11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35" name="Text Placeholder 31"/>
          <p:cNvSpPr>
            <a:spLocks noGrp="1"/>
          </p:cNvSpPr>
          <p:nvPr>
            <p:ph type="body" sz="quarter" idx="12"/>
          </p:nvPr>
        </p:nvSpPr>
        <p:spPr>
          <a:xfrm>
            <a:off x="7222301" y="595152"/>
            <a:ext cx="4838872" cy="1972800"/>
          </a:xfrm>
        </p:spPr>
        <p:txBody>
          <a:bodyPr>
            <a:noAutofit/>
          </a:bodyPr>
          <a:lstStyle>
            <a:lvl1pPr>
              <a:defRPr sz="16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 sz="1400" b="0"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 sz="1100" b="0"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 sz="1100" b="0"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40" name="Content Placeholder 39"/>
          <p:cNvSpPr>
            <a:spLocks noGrp="1"/>
          </p:cNvSpPr>
          <p:nvPr>
            <p:ph sz="quarter" idx="13"/>
          </p:nvPr>
        </p:nvSpPr>
        <p:spPr>
          <a:xfrm>
            <a:off x="326761" y="4508500"/>
            <a:ext cx="5054242" cy="1981200"/>
          </a:xfrm>
        </p:spPr>
        <p:txBody>
          <a:bodyPr>
            <a:noAutofit/>
          </a:bodyPr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400" b="0">
                <a:solidFill>
                  <a:schemeClr val="bg1"/>
                </a:solidFill>
              </a:defRPr>
            </a:lvl2pPr>
            <a:lvl3pPr>
              <a:defRPr sz="1200" b="0">
                <a:solidFill>
                  <a:schemeClr val="bg1"/>
                </a:solidFill>
              </a:defRPr>
            </a:lvl3pPr>
            <a:lvl4pPr>
              <a:defRPr sz="1100" b="0">
                <a:solidFill>
                  <a:schemeClr val="bg1"/>
                </a:solidFill>
              </a:defRPr>
            </a:lvl4pPr>
            <a:lvl5pPr>
              <a:defRPr sz="11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41" name="Content Placeholder 39"/>
          <p:cNvSpPr>
            <a:spLocks noGrp="1"/>
          </p:cNvSpPr>
          <p:nvPr>
            <p:ph sz="quarter" idx="14"/>
          </p:nvPr>
        </p:nvSpPr>
        <p:spPr>
          <a:xfrm>
            <a:off x="6981880" y="4508500"/>
            <a:ext cx="5054242" cy="1981200"/>
          </a:xfrm>
        </p:spPr>
        <p:txBody>
          <a:bodyPr>
            <a:noAutofit/>
          </a:bodyPr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400" b="0">
                <a:solidFill>
                  <a:schemeClr val="bg1"/>
                </a:solidFill>
              </a:defRPr>
            </a:lvl2pPr>
            <a:lvl3pPr>
              <a:defRPr sz="1200" b="0">
                <a:solidFill>
                  <a:schemeClr val="bg1"/>
                </a:solidFill>
              </a:defRPr>
            </a:lvl3pPr>
            <a:lvl4pPr>
              <a:defRPr sz="1100" b="0">
                <a:solidFill>
                  <a:schemeClr val="bg1"/>
                </a:solidFill>
              </a:defRPr>
            </a:lvl4pPr>
            <a:lvl5pPr>
              <a:defRPr sz="11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4040202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K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90184513"/>
              </p:ext>
            </p:extLst>
          </p:nvPr>
        </p:nvGraphicFramePr>
        <p:xfrm>
          <a:off x="1070248" y="1258640"/>
          <a:ext cx="10283551" cy="4779646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6082">
                  <a:extLst>
                    <a:ext uri="{9D8B030D-6E8A-4147-A177-3AD203B41FA5}">
                      <a16:colId xmlns:a16="http://schemas.microsoft.com/office/drawing/2014/main" val="3053010264"/>
                    </a:ext>
                  </a:extLst>
                </a:gridCol>
                <a:gridCol w="1034551">
                  <a:extLst>
                    <a:ext uri="{9D8B030D-6E8A-4147-A177-3AD203B41FA5}">
                      <a16:colId xmlns:a16="http://schemas.microsoft.com/office/drawing/2014/main" val="1184453202"/>
                    </a:ext>
                  </a:extLst>
                </a:gridCol>
                <a:gridCol w="7632287">
                  <a:extLst>
                    <a:ext uri="{9D8B030D-6E8A-4147-A177-3AD203B41FA5}">
                      <a16:colId xmlns:a16="http://schemas.microsoft.com/office/drawing/2014/main" val="3442433928"/>
                    </a:ext>
                  </a:extLst>
                </a:gridCol>
                <a:gridCol w="850631">
                  <a:extLst>
                    <a:ext uri="{9D8B030D-6E8A-4147-A177-3AD203B41FA5}">
                      <a16:colId xmlns:a16="http://schemas.microsoft.com/office/drawing/2014/main" val="487352434"/>
                    </a:ext>
                  </a:extLst>
                </a:gridCol>
              </a:tblGrid>
              <a:tr h="497961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600" b="1" dirty="0" smtClean="0">
                          <a:solidFill>
                            <a:schemeClr val="bg1"/>
                          </a:solidFill>
                        </a:rPr>
                        <a:t>O</a:t>
                      </a:r>
                      <a:r>
                        <a:rPr lang="en-US" sz="1050" b="0" dirty="0" smtClean="0">
                          <a:solidFill>
                            <a:schemeClr val="bg1"/>
                          </a:solidFill>
                        </a:rPr>
                        <a:t>BJ</a:t>
                      </a:r>
                    </a:p>
                  </a:txBody>
                  <a:tcPr marL="91751" marR="91751" marT="45875" marB="45875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40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18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MY" sz="1400" dirty="0">
                        <a:solidFill>
                          <a:schemeClr val="bg1"/>
                        </a:solidFill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8305651"/>
                  </a:ext>
                </a:extLst>
              </a:tr>
              <a:tr h="219747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180975" algn="l"/>
                        </a:tabLst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</a:t>
                      </a: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Y </a:t>
                      </a:r>
                      <a:r>
                        <a:rPr kumimoji="0" lang="en-US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SULTS</a:t>
                      </a:r>
                    </a:p>
                  </a:txBody>
                  <a:tcPr marL="91751" marR="91751" marT="45875" marB="45875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180975" algn="l"/>
                          <a:tab pos="271463" algn="l"/>
                          <a:tab pos="715963" algn="l"/>
                        </a:tabLst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D5"/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hlink"/>
                        </a:buClr>
                        <a:buChar char="•"/>
                      </a:lvl1pPr>
                      <a:lvl2pPr>
                        <a:buClr>
                          <a:schemeClr val="hlink"/>
                        </a:buClr>
                        <a:buChar char="-"/>
                      </a:lvl2pPr>
                      <a:lvl3pPr>
                        <a:buClr>
                          <a:schemeClr val="hlink"/>
                        </a:buClr>
                        <a:buChar char="-"/>
                      </a:lvl3pPr>
                      <a:lvl4pPr>
                        <a:buClr>
                          <a:schemeClr val="hlink"/>
                        </a:buClr>
                        <a:buChar char="-"/>
                      </a:lvl4pPr>
                      <a:lvl5pPr>
                        <a:buClr>
                          <a:schemeClr val="hlink"/>
                        </a:buClr>
                        <a:buChar char="-"/>
                      </a:lvl5pPr>
                      <a:lvl6pPr>
                        <a:buClr>
                          <a:schemeClr val="hlink"/>
                        </a:buClr>
                        <a:buChar char="-"/>
                      </a:lvl6pPr>
                      <a:lvl7pPr>
                        <a:buClr>
                          <a:schemeClr val="hlink"/>
                        </a:buClr>
                        <a:buChar char="-"/>
                      </a:lvl7pPr>
                      <a:lvl8pPr>
                        <a:buClr>
                          <a:schemeClr val="hlink"/>
                        </a:buClr>
                        <a:buChar char="-"/>
                      </a:lvl8pPr>
                      <a:lvl9pPr>
                        <a:buClr>
                          <a:schemeClr val="hlink"/>
                        </a:buClr>
                        <a:buChar char="-"/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anose="05000000000000000000" pitchFamily="2" charset="2"/>
                        <a:buNone/>
                        <a:tabLst>
                          <a:tab pos="180975" algn="l"/>
                          <a:tab pos="2062163" algn="l"/>
                        </a:tabLst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D5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MY" sz="1400" dirty="0" smtClean="0"/>
                        <a:t>	</a:t>
                      </a:r>
                      <a:endParaRPr lang="en-MY" sz="1400" dirty="0"/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456008"/>
                  </a:ext>
                </a:extLst>
              </a:tr>
              <a:tr h="20842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180975" algn="l"/>
                        </a:tabLst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ITATIVES</a:t>
                      </a:r>
                    </a:p>
                  </a:txBody>
                  <a:tcPr marL="91751" marR="91751" marT="45875" marB="45875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8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180975" algn="l"/>
                        </a:tabLst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8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anose="05000000000000000000" pitchFamily="2" charset="2"/>
                        <a:buNone/>
                        <a:tabLst>
                          <a:tab pos="180975" algn="l"/>
                        </a:tabLst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8E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MY" sz="1400" dirty="0"/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8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6699657"/>
                  </a:ext>
                </a:extLst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4867" y="1309371"/>
            <a:ext cx="388267" cy="38826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171247" y="2553222"/>
            <a:ext cx="495504" cy="62337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111125" y="4799400"/>
            <a:ext cx="555626" cy="43000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6806" y="1866688"/>
            <a:ext cx="7379517" cy="1969463"/>
          </a:xfrm>
        </p:spPr>
        <p:txBody>
          <a:bodyPr anchor="ctr">
            <a:normAutofit/>
          </a:bodyPr>
          <a:lstStyle>
            <a:lvl1pPr marL="2286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400" b="0">
                <a:solidFill>
                  <a:schemeClr val="tx1"/>
                </a:solidFill>
              </a:defRPr>
            </a:lvl1pPr>
            <a:lvl2pPr marL="6858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600" b="0">
                <a:solidFill>
                  <a:schemeClr val="tx1"/>
                </a:solidFill>
              </a:defRPr>
            </a:lvl2pPr>
            <a:lvl3pPr marL="11430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400" b="0">
                <a:solidFill>
                  <a:schemeClr val="tx1"/>
                </a:solidFill>
              </a:defRPr>
            </a:lvl3pPr>
            <a:lvl4pPr marL="16002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200" b="0">
                <a:solidFill>
                  <a:schemeClr val="tx1"/>
                </a:solidFill>
              </a:defRPr>
            </a:lvl4pPr>
            <a:lvl5pPr marL="20574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046805" y="4052636"/>
            <a:ext cx="7379517" cy="1882848"/>
          </a:xfrm>
        </p:spPr>
        <p:txBody>
          <a:bodyPr anchor="ctr">
            <a:normAutofit/>
          </a:bodyPr>
          <a:lstStyle>
            <a:lvl1pPr marL="2286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200" b="0">
                <a:solidFill>
                  <a:schemeClr val="tx1"/>
                </a:solidFill>
              </a:defRPr>
            </a:lvl1pPr>
            <a:lvl2pPr marL="6858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200">
                <a:solidFill>
                  <a:schemeClr val="tx1"/>
                </a:solidFill>
              </a:defRPr>
            </a:lvl2pPr>
            <a:lvl3pPr marL="11430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100">
                <a:solidFill>
                  <a:schemeClr val="tx1"/>
                </a:solidFill>
              </a:defRPr>
            </a:lvl3pPr>
            <a:lvl4pPr marL="16002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050">
                <a:solidFill>
                  <a:schemeClr val="tx1"/>
                </a:solidFill>
              </a:defRPr>
            </a:lvl4pPr>
            <a:lvl5pPr marL="20574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046805" y="1345330"/>
            <a:ext cx="7379517" cy="33995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&lt; Text &gt; Arial 18, BOLD</a:t>
            </a:r>
          </a:p>
        </p:txBody>
      </p:sp>
    </p:spTree>
    <p:extLst>
      <p:ext uri="{BB962C8B-B14F-4D97-AF65-F5344CB8AC3E}">
        <p14:creationId xmlns:p14="http://schemas.microsoft.com/office/powerpoint/2010/main" val="22716340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&lt; Title &gt; Arial 28, BOLD</a:t>
            </a:r>
            <a:endParaRPr lang="en-MY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194759"/>
            <a:ext cx="5181600" cy="4982204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194759"/>
            <a:ext cx="5181600" cy="4982204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762759"/>
            <a:ext cx="9511200" cy="432000"/>
          </a:xfrm>
        </p:spPr>
        <p:txBody>
          <a:bodyPr anchor="t">
            <a:noAutofit/>
          </a:bodyPr>
          <a:lstStyle>
            <a:lvl1pPr marL="0" indent="0"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&lt; Sub-title &gt; Arial 20, BOLD</a:t>
            </a: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26892746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297005"/>
            <a:ext cx="5157787" cy="823912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120917"/>
            <a:ext cx="5157787" cy="4036404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297005"/>
            <a:ext cx="5183188" cy="823912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120917"/>
            <a:ext cx="5183188" cy="4036404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&lt; Title &gt; Arial 28, BOLD</a:t>
            </a:r>
            <a:endParaRPr lang="en-MY" dirty="0"/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762759"/>
            <a:ext cx="9511200" cy="432000"/>
          </a:xfrm>
        </p:spPr>
        <p:txBody>
          <a:bodyPr anchor="t">
            <a:noAutofit/>
          </a:bodyPr>
          <a:lstStyle>
            <a:lvl1pPr marL="0" indent="0"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&lt; Sub-title &gt; Arial 20, BOLD</a:t>
            </a:r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29141469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0528" y="116600"/>
            <a:ext cx="1446626" cy="92517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38076"/>
            <a:ext cx="9512328" cy="43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MY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352653"/>
            <a:ext cx="10515600" cy="48243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8199" y="6355587"/>
            <a:ext cx="24136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86036" y="6355587"/>
            <a:ext cx="6677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>
                    <a:lumMod val="25000"/>
                  </a:schemeClr>
                </a:solidFill>
                <a:latin typeface="Bahnschrift" panose="020B0502040204020203" pitchFamily="34" charset="0"/>
              </a:defRPr>
            </a:lvl1pPr>
          </a:lstStyle>
          <a:p>
            <a:pPr eaLnBrk="0" hangingPunct="0">
              <a:lnSpc>
                <a:spcPts val="800"/>
              </a:lnSpc>
              <a:defRPr/>
            </a:pPr>
            <a:r>
              <a:rPr lang="de-DE" altLang="de-DE" dirty="0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779013" y="1087227"/>
            <a:ext cx="10296000" cy="36000"/>
          </a:xfrm>
          <a:prstGeom prst="rect">
            <a:avLst/>
          </a:prstGeom>
          <a:solidFill>
            <a:srgbClr val="B0B0B0"/>
          </a:solidFill>
          <a:ln w="12699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27"/>
          <p:cNvSpPr>
            <a:spLocks noChangeArrowheads="1"/>
          </p:cNvSpPr>
          <p:nvPr userDrawn="1"/>
        </p:nvSpPr>
        <p:spPr bwMode="auto">
          <a:xfrm>
            <a:off x="11473154" y="1087227"/>
            <a:ext cx="324000" cy="36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sz="1800"/>
          </a:p>
        </p:txBody>
      </p:sp>
      <p:sp>
        <p:nvSpPr>
          <p:cNvPr id="10" name="Rectangle 26"/>
          <p:cNvSpPr>
            <a:spLocks noChangeArrowheads="1"/>
          </p:cNvSpPr>
          <p:nvPr userDrawn="1"/>
        </p:nvSpPr>
        <p:spPr bwMode="auto">
          <a:xfrm>
            <a:off x="11115176" y="1087227"/>
            <a:ext cx="324000" cy="36000"/>
          </a:xfrm>
          <a:prstGeom prst="rect">
            <a:avLst/>
          </a:prstGeom>
          <a:solidFill>
            <a:srgbClr val="3C5A8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4038600" y="6430427"/>
            <a:ext cx="4114800" cy="215444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algn="ctr">
              <a:spcBef>
                <a:spcPts val="200"/>
              </a:spcBef>
              <a:spcAft>
                <a:spcPts val="200"/>
              </a:spcAft>
            </a:pPr>
            <a:r>
              <a:rPr lang="en-US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We are the </a:t>
            </a:r>
            <a:r>
              <a:rPr lang="en-US" sz="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FIRST CHOICE </a:t>
            </a:r>
            <a:r>
              <a:rPr lang="en-US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for </a:t>
            </a:r>
            <a:r>
              <a:rPr lang="en-US" sz="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COMPREHENSIVE AIRFOIL REPAIR SOLUTIONS</a:t>
            </a:r>
            <a:endParaRPr lang="en-MY" sz="800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3246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57" r:id="rId2"/>
    <p:sldLayoutId id="2147483650" r:id="rId3"/>
    <p:sldLayoutId id="2147483654" r:id="rId4"/>
    <p:sldLayoutId id="2147483651" r:id="rId5"/>
    <p:sldLayoutId id="2147483655" r:id="rId6"/>
    <p:sldLayoutId id="2147483668" r:id="rId7"/>
    <p:sldLayoutId id="2147483652" r:id="rId8"/>
    <p:sldLayoutId id="2147483653" r:id="rId9"/>
    <p:sldLayoutId id="2147483656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215177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2</a:t>
            </a:fld>
            <a:endParaRPr lang="de-DE" altLang="de-DE" dirty="0" smtClean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2575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676207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4</a:t>
            </a:fld>
            <a:endParaRPr lang="de-DE" altLang="de-DE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6102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5</a:t>
            </a:fld>
            <a:endParaRPr lang="de-DE" altLang="de-DE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9943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IAAAAAAAAAAwAAAAMAAAAA/////wQAGwwAAAAAAAAAAAAAIAD///////////////8AAAD///////////////8DAAAAAw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mAQrMn4ppAp1K4y11eDGoFAAAAAAADAAAAAwADAAAAAQADAAUA////////BAAAAAMAEAAL5HvhZx1CSE+kAnhChpBdIAUAAAABAAMAAAAAAAMAAAACAAMAAAAAAP///////wMAAAAAAP///////wMAAAAA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OmAQrMn4ppAp1K4y11eDGoDRGF0YQAbAAAABExpbmtlZFNoYXBlRGF0YQAFAAAAAAACTmFtZQAZAAAATGlua2VkU2hhcGVzRGF0YVByb3BlcnR5ABBWZXJzaW9uAAAAAAAJTGFzdFdyaXRlAD9hPtCEAQAAAAEA/////8YAxgAAAAVfaWQAEAAAAATke+FnHUJIT6QCeEKGkF0gA0RhdGEAUwAAAAhQcmVzZW50YXRpb25TY2FubmVkRm9yTGlua2VkU2hhcGVzAAECTnVtYmVyRm9ybWF0U2VwYXJhdG9yTW9kZQAKAAAAQXV0b21hdGljAAACTmFtZQAkAAAATGlua2VkU2hhcGVQcmVzZW50YXRpb25TZXR0aW5nc0RhdGEAEFZlcnNpb24AAAAAAAlMYXN0V3JpdGUAfWE+0IQ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055378599999681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ASSB Theme">
  <a:themeElements>
    <a:clrScheme name="Custom 1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BFBFBF"/>
      </a:accent1>
      <a:accent2>
        <a:srgbClr val="00264C"/>
      </a:accent2>
      <a:accent3>
        <a:srgbClr val="B7D8A2"/>
      </a:accent3>
      <a:accent4>
        <a:srgbClr val="FFC000"/>
      </a:accent4>
      <a:accent5>
        <a:srgbClr val="538135"/>
      </a:accent5>
      <a:accent6>
        <a:srgbClr val="954F72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63</TotalTime>
  <Words>15</Words>
  <Application>Microsoft Office PowerPoint</Application>
  <PresentationFormat>Widescreen</PresentationFormat>
  <Paragraphs>6</Paragraphs>
  <Slides>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Bahnschrift</vt:lpstr>
      <vt:lpstr>Calibri</vt:lpstr>
      <vt:lpstr>League Spartan</vt:lpstr>
      <vt:lpstr>Roboto Light</vt:lpstr>
      <vt:lpstr>Segoe UI Light</vt:lpstr>
      <vt:lpstr>Wingdings</vt:lpstr>
      <vt:lpstr>ASSB Them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VAN CHIN SOON HWA</dc:creator>
  <cp:lastModifiedBy>IVAN CHIN SOON HWA</cp:lastModifiedBy>
  <cp:revision>135</cp:revision>
  <dcterms:created xsi:type="dcterms:W3CDTF">2022-11-30T04:15:21Z</dcterms:created>
  <dcterms:modified xsi:type="dcterms:W3CDTF">2022-12-08T07:41:10Z</dcterms:modified>
</cp:coreProperties>
</file>